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" ContentType="image/ti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750" r:id="rId4"/>
  </p:sldMasterIdLst>
  <p:notesMasterIdLst>
    <p:notesMasterId r:id="rId8"/>
  </p:notesMasterIdLst>
  <p:sldIdLst>
    <p:sldId id="2134804720" r:id="rId5"/>
    <p:sldId id="2134804715" r:id="rId6"/>
    <p:sldId id="1335" r:id="rId7"/>
  </p:sldIdLst>
  <p:sldSz cx="12192000" cy="6858000"/>
  <p:notesSz cx="6797675" cy="9926638"/>
  <p:custDataLst>
    <p:tags r:id="rId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F5F5F"/>
    <a:srgbClr val="747474"/>
    <a:srgbClr val="A6A6A6"/>
    <a:srgbClr val="B2B2B2"/>
    <a:srgbClr val="EAEAEA"/>
    <a:srgbClr val="FFFDFD"/>
    <a:srgbClr val="FFFDFE"/>
    <a:srgbClr val="FFFEFE"/>
    <a:srgbClr val="FFFE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29C2871-9464-4EC0-B12B-211D1BC2D87E}" v="28" dt="2025-05-07T06:05:58.14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中度样式 4 - 强调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0" autoAdjust="0"/>
  </p:normalViewPr>
  <p:slideViewPr>
    <p:cSldViewPr snapToObjects="1" showGuides="1">
      <p:cViewPr varScale="1">
        <p:scale>
          <a:sx n="122" d="100"/>
          <a:sy n="122" d="100"/>
        </p:scale>
        <p:origin x="96" y="504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ong, Zhenxing" userId="794239b5-855f-4322-9e4f-eb60923b5d55" providerId="ADAL" clId="{F29C2871-9464-4EC0-B12B-211D1BC2D87E}"/>
    <pc:docChg chg="undo redo custSel addSld delSld modSld sldOrd">
      <pc:chgData name="Song, Zhenxing" userId="794239b5-855f-4322-9e4f-eb60923b5d55" providerId="ADAL" clId="{F29C2871-9464-4EC0-B12B-211D1BC2D87E}" dt="2025-05-07T05:59:36.275" v="3229" actId="20577"/>
      <pc:docMkLst>
        <pc:docMk/>
      </pc:docMkLst>
      <pc:sldChg chg="addSp delSp modSp mod ord">
        <pc:chgData name="Song, Zhenxing" userId="794239b5-855f-4322-9e4f-eb60923b5d55" providerId="ADAL" clId="{F29C2871-9464-4EC0-B12B-211D1BC2D87E}" dt="2025-05-07T03:09:11.273" v="3195" actId="20577"/>
        <pc:sldMkLst>
          <pc:docMk/>
          <pc:sldMk cId="1644194387" sldId="1335"/>
        </pc:sldMkLst>
        <pc:spChg chg="mod">
          <ac:chgData name="Song, Zhenxing" userId="794239b5-855f-4322-9e4f-eb60923b5d55" providerId="ADAL" clId="{F29C2871-9464-4EC0-B12B-211D1BC2D87E}" dt="2025-05-07T02:45:46.031" v="2266" actId="20577"/>
          <ac:spMkLst>
            <pc:docMk/>
            <pc:sldMk cId="1644194387" sldId="1335"/>
            <ac:spMk id="3" creationId="{73948678-01F0-409E-AB4B-554B076F0371}"/>
          </ac:spMkLst>
        </pc:spChg>
        <pc:spChg chg="mod">
          <ac:chgData name="Song, Zhenxing" userId="794239b5-855f-4322-9e4f-eb60923b5d55" providerId="ADAL" clId="{F29C2871-9464-4EC0-B12B-211D1BC2D87E}" dt="2025-05-07T03:08:45.271" v="3190" actId="1076"/>
          <ac:spMkLst>
            <pc:docMk/>
            <pc:sldMk cId="1644194387" sldId="1335"/>
            <ac:spMk id="7" creationId="{402FF6EB-F4C1-4558-80DC-E542830724EF}"/>
          </ac:spMkLst>
        </pc:spChg>
        <pc:spChg chg="mod">
          <ac:chgData name="Song, Zhenxing" userId="794239b5-855f-4322-9e4f-eb60923b5d55" providerId="ADAL" clId="{F29C2871-9464-4EC0-B12B-211D1BC2D87E}" dt="2025-05-07T03:02:34.389" v="2916" actId="1076"/>
          <ac:spMkLst>
            <pc:docMk/>
            <pc:sldMk cId="1644194387" sldId="1335"/>
            <ac:spMk id="8" creationId="{F1BD1517-AEDF-4F67-99EA-CF889F22E0A8}"/>
          </ac:spMkLst>
        </pc:spChg>
        <pc:spChg chg="del">
          <ac:chgData name="Song, Zhenxing" userId="794239b5-855f-4322-9e4f-eb60923b5d55" providerId="ADAL" clId="{F29C2871-9464-4EC0-B12B-211D1BC2D87E}" dt="2025-05-07T02:57:49.999" v="2870" actId="478"/>
          <ac:spMkLst>
            <pc:docMk/>
            <pc:sldMk cId="1644194387" sldId="1335"/>
            <ac:spMk id="9" creationId="{061FD921-7D45-4FD9-9D5F-4FF7CC96E85B}"/>
          </ac:spMkLst>
        </pc:spChg>
        <pc:spChg chg="mod">
          <ac:chgData name="Song, Zhenxing" userId="794239b5-855f-4322-9e4f-eb60923b5d55" providerId="ADAL" clId="{F29C2871-9464-4EC0-B12B-211D1BC2D87E}" dt="2025-05-07T03:04:26.123" v="2975" actId="404"/>
          <ac:spMkLst>
            <pc:docMk/>
            <pc:sldMk cId="1644194387" sldId="1335"/>
            <ac:spMk id="14" creationId="{E069E25A-BEF6-4C19-B694-5E95833F4E4B}"/>
          </ac:spMkLst>
        </pc:spChg>
        <pc:spChg chg="mod">
          <ac:chgData name="Song, Zhenxing" userId="794239b5-855f-4322-9e4f-eb60923b5d55" providerId="ADAL" clId="{F29C2871-9464-4EC0-B12B-211D1BC2D87E}" dt="2025-05-07T03:02:57.589" v="2920" actId="1076"/>
          <ac:spMkLst>
            <pc:docMk/>
            <pc:sldMk cId="1644194387" sldId="1335"/>
            <ac:spMk id="17" creationId="{4D098104-96E6-4F43-BFE8-598E833DB2B6}"/>
          </ac:spMkLst>
        </pc:spChg>
        <pc:spChg chg="mod">
          <ac:chgData name="Song, Zhenxing" userId="794239b5-855f-4322-9e4f-eb60923b5d55" providerId="ADAL" clId="{F29C2871-9464-4EC0-B12B-211D1BC2D87E}" dt="2025-05-07T03:04:44.675" v="2985" actId="403"/>
          <ac:spMkLst>
            <pc:docMk/>
            <pc:sldMk cId="1644194387" sldId="1335"/>
            <ac:spMk id="20" creationId="{4E07DB2E-2709-4643-81F3-FF5BA131FA41}"/>
          </ac:spMkLst>
        </pc:spChg>
        <pc:spChg chg="mod">
          <ac:chgData name="Song, Zhenxing" userId="794239b5-855f-4322-9e4f-eb60923b5d55" providerId="ADAL" clId="{F29C2871-9464-4EC0-B12B-211D1BC2D87E}" dt="2025-05-07T03:02:34.389" v="2916" actId="1076"/>
          <ac:spMkLst>
            <pc:docMk/>
            <pc:sldMk cId="1644194387" sldId="1335"/>
            <ac:spMk id="24" creationId="{B85BD5D9-58FE-43D2-8872-D343E9D3AD33}"/>
          </ac:spMkLst>
        </pc:spChg>
        <pc:spChg chg="add del mod">
          <ac:chgData name="Song, Zhenxing" userId="794239b5-855f-4322-9e4f-eb60923b5d55" providerId="ADAL" clId="{F29C2871-9464-4EC0-B12B-211D1BC2D87E}" dt="2025-05-07T03:03:07.123" v="2921" actId="1076"/>
          <ac:spMkLst>
            <pc:docMk/>
            <pc:sldMk cId="1644194387" sldId="1335"/>
            <ac:spMk id="28" creationId="{6187770D-9039-4604-9A13-E80F42AD1144}"/>
          </ac:spMkLst>
        </pc:spChg>
        <pc:spChg chg="mod">
          <ac:chgData name="Song, Zhenxing" userId="794239b5-855f-4322-9e4f-eb60923b5d55" providerId="ADAL" clId="{F29C2871-9464-4EC0-B12B-211D1BC2D87E}" dt="2025-05-07T03:02:34.389" v="2916" actId="1076"/>
          <ac:spMkLst>
            <pc:docMk/>
            <pc:sldMk cId="1644194387" sldId="1335"/>
            <ac:spMk id="29" creationId="{E341F9F0-F475-4C7F-9AF4-48A8698FD0CE}"/>
          </ac:spMkLst>
        </pc:spChg>
        <pc:spChg chg="add mod">
          <ac:chgData name="Song, Zhenxing" userId="794239b5-855f-4322-9e4f-eb60923b5d55" providerId="ADAL" clId="{F29C2871-9464-4EC0-B12B-211D1BC2D87E}" dt="2025-05-07T03:09:11.273" v="3195" actId="20577"/>
          <ac:spMkLst>
            <pc:docMk/>
            <pc:sldMk cId="1644194387" sldId="1335"/>
            <ac:spMk id="32" creationId="{550939BA-1738-D6CB-4682-5F4C5AACC075}"/>
          </ac:spMkLst>
        </pc:spChg>
        <pc:spChg chg="add mod">
          <ac:chgData name="Song, Zhenxing" userId="794239b5-855f-4322-9e4f-eb60923b5d55" providerId="ADAL" clId="{F29C2871-9464-4EC0-B12B-211D1BC2D87E}" dt="2025-05-07T03:06:15.662" v="3177" actId="20577"/>
          <ac:spMkLst>
            <pc:docMk/>
            <pc:sldMk cId="1644194387" sldId="1335"/>
            <ac:spMk id="47" creationId="{F018FA59-1137-9308-52C0-680D1F190E83}"/>
          </ac:spMkLst>
        </pc:spChg>
        <pc:spChg chg="add mod">
          <ac:chgData name="Song, Zhenxing" userId="794239b5-855f-4322-9e4f-eb60923b5d55" providerId="ADAL" clId="{F29C2871-9464-4EC0-B12B-211D1BC2D87E}" dt="2025-05-07T03:06:37.782" v="3185" actId="20577"/>
          <ac:spMkLst>
            <pc:docMk/>
            <pc:sldMk cId="1644194387" sldId="1335"/>
            <ac:spMk id="48" creationId="{70EBA7FF-BB60-5A11-ED24-E8778BE10A66}"/>
          </ac:spMkLst>
        </pc:spChg>
        <pc:spChg chg="mod">
          <ac:chgData name="Song, Zhenxing" userId="794239b5-855f-4322-9e4f-eb60923b5d55" providerId="ADAL" clId="{F29C2871-9464-4EC0-B12B-211D1BC2D87E}" dt="2025-05-07T03:02:34.389" v="2916" actId="1076"/>
          <ac:spMkLst>
            <pc:docMk/>
            <pc:sldMk cId="1644194387" sldId="1335"/>
            <ac:spMk id="57" creationId="{5B145442-F742-46AF-B148-9B64755AABD0}"/>
          </ac:spMkLst>
        </pc:spChg>
        <pc:spChg chg="mod">
          <ac:chgData name="Song, Zhenxing" userId="794239b5-855f-4322-9e4f-eb60923b5d55" providerId="ADAL" clId="{F29C2871-9464-4EC0-B12B-211D1BC2D87E}" dt="2025-05-07T03:04:06.371" v="2966" actId="20577"/>
          <ac:spMkLst>
            <pc:docMk/>
            <pc:sldMk cId="1644194387" sldId="1335"/>
            <ac:spMk id="65" creationId="{2E3A79F2-89FA-45F4-8CDA-7D3DE1C1D468}"/>
          </ac:spMkLst>
        </pc:spChg>
        <pc:picChg chg="del">
          <ac:chgData name="Song, Zhenxing" userId="794239b5-855f-4322-9e4f-eb60923b5d55" providerId="ADAL" clId="{F29C2871-9464-4EC0-B12B-211D1BC2D87E}" dt="2025-05-07T02:52:35.867" v="2657" actId="478"/>
          <ac:picMkLst>
            <pc:docMk/>
            <pc:sldMk cId="1644194387" sldId="1335"/>
            <ac:picMk id="77" creationId="{6B0F6853-D376-4DF1-9839-9C7D88BAF966}"/>
          </ac:picMkLst>
        </pc:picChg>
        <pc:cxnChg chg="mod">
          <ac:chgData name="Song, Zhenxing" userId="794239b5-855f-4322-9e4f-eb60923b5d55" providerId="ADAL" clId="{F29C2871-9464-4EC0-B12B-211D1BC2D87E}" dt="2025-05-07T03:02:34.389" v="2916" actId="1076"/>
          <ac:cxnSpMkLst>
            <pc:docMk/>
            <pc:sldMk cId="1644194387" sldId="1335"/>
            <ac:cxnSpMk id="10" creationId="{12017DBA-3006-49D6-8EAD-66843CDF7F04}"/>
          </ac:cxnSpMkLst>
        </pc:cxnChg>
        <pc:cxnChg chg="add mod">
          <ac:chgData name="Song, Zhenxing" userId="794239b5-855f-4322-9e4f-eb60923b5d55" providerId="ADAL" clId="{F29C2871-9464-4EC0-B12B-211D1BC2D87E}" dt="2025-05-07T03:03:14.632" v="2922" actId="14100"/>
          <ac:cxnSpMkLst>
            <pc:docMk/>
            <pc:sldMk cId="1644194387" sldId="1335"/>
            <ac:cxnSpMk id="18" creationId="{DB0C0E96-921D-B61A-3A59-FB6E9AF9361C}"/>
          </ac:cxnSpMkLst>
        </pc:cxnChg>
        <pc:cxnChg chg="mod">
          <ac:chgData name="Song, Zhenxing" userId="794239b5-855f-4322-9e4f-eb60923b5d55" providerId="ADAL" clId="{F29C2871-9464-4EC0-B12B-211D1BC2D87E}" dt="2025-05-07T03:02:34.389" v="2916" actId="1076"/>
          <ac:cxnSpMkLst>
            <pc:docMk/>
            <pc:sldMk cId="1644194387" sldId="1335"/>
            <ac:cxnSpMk id="19" creationId="{6F16962B-75AC-4580-9115-99C6A1962CDA}"/>
          </ac:cxnSpMkLst>
        </pc:cxnChg>
        <pc:cxnChg chg="add del mod">
          <ac:chgData name="Song, Zhenxing" userId="794239b5-855f-4322-9e4f-eb60923b5d55" providerId="ADAL" clId="{F29C2871-9464-4EC0-B12B-211D1BC2D87E}" dt="2025-05-07T02:54:17.007" v="2670" actId="478"/>
          <ac:cxnSpMkLst>
            <pc:docMk/>
            <pc:sldMk cId="1644194387" sldId="1335"/>
            <ac:cxnSpMk id="22" creationId="{7781FE85-718C-4E5E-B201-240A664571E1}"/>
          </ac:cxnSpMkLst>
        </pc:cxnChg>
        <pc:cxnChg chg="mod">
          <ac:chgData name="Song, Zhenxing" userId="794239b5-855f-4322-9e4f-eb60923b5d55" providerId="ADAL" clId="{F29C2871-9464-4EC0-B12B-211D1BC2D87E}" dt="2025-05-07T03:02:34.389" v="2916" actId="1076"/>
          <ac:cxnSpMkLst>
            <pc:docMk/>
            <pc:sldMk cId="1644194387" sldId="1335"/>
            <ac:cxnSpMk id="25" creationId="{991E4A05-6680-4ECC-9B97-241C14D61E73}"/>
          </ac:cxnSpMkLst>
        </pc:cxnChg>
        <pc:cxnChg chg="add del mod">
          <ac:chgData name="Song, Zhenxing" userId="794239b5-855f-4322-9e4f-eb60923b5d55" providerId="ADAL" clId="{F29C2871-9464-4EC0-B12B-211D1BC2D87E}" dt="2025-05-07T03:03:07.123" v="2921" actId="1076"/>
          <ac:cxnSpMkLst>
            <pc:docMk/>
            <pc:sldMk cId="1644194387" sldId="1335"/>
            <ac:cxnSpMk id="34" creationId="{DF8CE15C-338A-4713-B280-94FA146CA19A}"/>
          </ac:cxnSpMkLst>
        </pc:cxnChg>
        <pc:cxnChg chg="mod">
          <ac:chgData name="Song, Zhenxing" userId="794239b5-855f-4322-9e4f-eb60923b5d55" providerId="ADAL" clId="{F29C2871-9464-4EC0-B12B-211D1BC2D87E}" dt="2025-05-07T03:02:34.389" v="2916" actId="1076"/>
          <ac:cxnSpMkLst>
            <pc:docMk/>
            <pc:sldMk cId="1644194387" sldId="1335"/>
            <ac:cxnSpMk id="39" creationId="{1C736A68-8D23-4D14-B1C2-DC895E8C76E6}"/>
          </ac:cxnSpMkLst>
        </pc:cxnChg>
        <pc:cxnChg chg="add mod">
          <ac:chgData name="Song, Zhenxing" userId="794239b5-855f-4322-9e4f-eb60923b5d55" providerId="ADAL" clId="{F29C2871-9464-4EC0-B12B-211D1BC2D87E}" dt="2025-05-07T03:03:30.068" v="2924" actId="1076"/>
          <ac:cxnSpMkLst>
            <pc:docMk/>
            <pc:sldMk cId="1644194387" sldId="1335"/>
            <ac:cxnSpMk id="46" creationId="{D0AD3A13-A08E-EE30-77E6-304E73822BA2}"/>
          </ac:cxnSpMkLst>
        </pc:cxnChg>
        <pc:cxnChg chg="add mod">
          <ac:chgData name="Song, Zhenxing" userId="794239b5-855f-4322-9e4f-eb60923b5d55" providerId="ADAL" clId="{F29C2871-9464-4EC0-B12B-211D1BC2D87E}" dt="2025-05-07T03:07:03.221" v="3189" actId="14100"/>
          <ac:cxnSpMkLst>
            <pc:docMk/>
            <pc:sldMk cId="1644194387" sldId="1335"/>
            <ac:cxnSpMk id="49" creationId="{114200F1-B991-F481-F2E3-D685C9A2B63B}"/>
          </ac:cxnSpMkLst>
        </pc:cxnChg>
        <pc:cxnChg chg="mod">
          <ac:chgData name="Song, Zhenxing" userId="794239b5-855f-4322-9e4f-eb60923b5d55" providerId="ADAL" clId="{F29C2871-9464-4EC0-B12B-211D1BC2D87E}" dt="2025-05-07T03:02:34.389" v="2916" actId="1076"/>
          <ac:cxnSpMkLst>
            <pc:docMk/>
            <pc:sldMk cId="1644194387" sldId="1335"/>
            <ac:cxnSpMk id="51" creationId="{1C736A68-8D23-4D14-B1C2-DC895E8C76E6}"/>
          </ac:cxnSpMkLst>
        </pc:cxnChg>
        <pc:cxnChg chg="mod">
          <ac:chgData name="Song, Zhenxing" userId="794239b5-855f-4322-9e4f-eb60923b5d55" providerId="ADAL" clId="{F29C2871-9464-4EC0-B12B-211D1BC2D87E}" dt="2025-05-07T03:08:45.271" v="3190" actId="1076"/>
          <ac:cxnSpMkLst>
            <pc:docMk/>
            <pc:sldMk cId="1644194387" sldId="1335"/>
            <ac:cxnSpMk id="88" creationId="{A0948499-0895-42C1-8A36-18202AEF2BD0}"/>
          </ac:cxnSpMkLst>
        </pc:cxnChg>
      </pc:sldChg>
      <pc:sldChg chg="modSp add del mod ord">
        <pc:chgData name="Song, Zhenxing" userId="794239b5-855f-4322-9e4f-eb60923b5d55" providerId="ADAL" clId="{F29C2871-9464-4EC0-B12B-211D1BC2D87E}" dt="2025-05-07T03:14:38.500" v="3196"/>
        <pc:sldMkLst>
          <pc:docMk/>
          <pc:sldMk cId="1149093296" sldId="2134804715"/>
        </pc:sldMkLst>
        <pc:spChg chg="mod">
          <ac:chgData name="Song, Zhenxing" userId="794239b5-855f-4322-9e4f-eb60923b5d55" providerId="ADAL" clId="{F29C2871-9464-4EC0-B12B-211D1BC2D87E}" dt="2025-05-06T06:47:46.428" v="12" actId="20577"/>
          <ac:spMkLst>
            <pc:docMk/>
            <pc:sldMk cId="1149093296" sldId="2134804715"/>
            <ac:spMk id="3" creationId="{AE07359E-B752-4B6D-8A43-C87785E949ED}"/>
          </ac:spMkLst>
        </pc:spChg>
        <pc:graphicFrameChg chg="mod modGraphic">
          <ac:chgData name="Song, Zhenxing" userId="794239b5-855f-4322-9e4f-eb60923b5d55" providerId="ADAL" clId="{F29C2871-9464-4EC0-B12B-211D1BC2D87E}" dt="2025-05-07T03:14:38.500" v="3196"/>
          <ac:graphicFrameMkLst>
            <pc:docMk/>
            <pc:sldMk cId="1149093296" sldId="2134804715"/>
            <ac:graphicFrameMk id="7" creationId="{800F37A0-C3F9-4C6B-9935-B35987C43E1A}"/>
          </ac:graphicFrameMkLst>
        </pc:graphicFrameChg>
      </pc:sldChg>
      <pc:sldChg chg="addSp delSp modSp mod">
        <pc:chgData name="Song, Zhenxing" userId="794239b5-855f-4322-9e4f-eb60923b5d55" providerId="ADAL" clId="{F29C2871-9464-4EC0-B12B-211D1BC2D87E}" dt="2025-05-07T05:59:36.275" v="3229" actId="20577"/>
        <pc:sldMkLst>
          <pc:docMk/>
          <pc:sldMk cId="4206762369" sldId="2134804720"/>
        </pc:sldMkLst>
        <pc:spChg chg="mod">
          <ac:chgData name="Song, Zhenxing" userId="794239b5-855f-4322-9e4f-eb60923b5d55" providerId="ADAL" clId="{F29C2871-9464-4EC0-B12B-211D1BC2D87E}" dt="2025-05-06T06:54:34.555" v="61" actId="14100"/>
          <ac:spMkLst>
            <pc:docMk/>
            <pc:sldMk cId="4206762369" sldId="2134804720"/>
            <ac:spMk id="7" creationId="{ADBC0BAC-53B1-4DAB-AE65-1D8535A38D62}"/>
          </ac:spMkLst>
        </pc:spChg>
        <pc:spChg chg="mod">
          <ac:chgData name="Song, Zhenxing" userId="794239b5-855f-4322-9e4f-eb60923b5d55" providerId="ADAL" clId="{F29C2871-9464-4EC0-B12B-211D1BC2D87E}" dt="2025-05-07T05:53:32.375" v="3204" actId="1076"/>
          <ac:spMkLst>
            <pc:docMk/>
            <pc:sldMk cId="4206762369" sldId="2134804720"/>
            <ac:spMk id="9" creationId="{A5BB6DB0-0754-416C-A3CD-E55950566827}"/>
          </ac:spMkLst>
        </pc:spChg>
        <pc:spChg chg="add del mod">
          <ac:chgData name="Song, Zhenxing" userId="794239b5-855f-4322-9e4f-eb60923b5d55" providerId="ADAL" clId="{F29C2871-9464-4EC0-B12B-211D1BC2D87E}" dt="2025-05-06T07:31:25.904" v="325"/>
          <ac:spMkLst>
            <pc:docMk/>
            <pc:sldMk cId="4206762369" sldId="2134804720"/>
            <ac:spMk id="15" creationId="{05C1B459-E7F9-70BA-F167-B46000C3E5CF}"/>
          </ac:spMkLst>
        </pc:spChg>
        <pc:spChg chg="add mod">
          <ac:chgData name="Song, Zhenxing" userId="794239b5-855f-4322-9e4f-eb60923b5d55" providerId="ADAL" clId="{F29C2871-9464-4EC0-B12B-211D1BC2D87E}" dt="2025-05-07T05:53:32.375" v="3204" actId="1076"/>
          <ac:spMkLst>
            <pc:docMk/>
            <pc:sldMk cId="4206762369" sldId="2134804720"/>
            <ac:spMk id="16" creationId="{F2DF628A-02DD-E144-C300-48ADE3717538}"/>
          </ac:spMkLst>
        </pc:spChg>
        <pc:spChg chg="mod">
          <ac:chgData name="Song, Zhenxing" userId="794239b5-855f-4322-9e4f-eb60923b5d55" providerId="ADAL" clId="{F29C2871-9464-4EC0-B12B-211D1BC2D87E}" dt="2025-05-07T05:59:36.275" v="3229" actId="20577"/>
          <ac:spMkLst>
            <pc:docMk/>
            <pc:sldMk cId="4206762369" sldId="2134804720"/>
            <ac:spMk id="19" creationId="{ED4C2C6C-6E84-4A70-BDA9-922057D22618}"/>
          </ac:spMkLst>
        </pc:spChg>
        <pc:spChg chg="mod">
          <ac:chgData name="Song, Zhenxing" userId="794239b5-855f-4322-9e4f-eb60923b5d55" providerId="ADAL" clId="{F29C2871-9464-4EC0-B12B-211D1BC2D87E}" dt="2025-05-06T06:54:58.312" v="65" actId="14100"/>
          <ac:spMkLst>
            <pc:docMk/>
            <pc:sldMk cId="4206762369" sldId="2134804720"/>
            <ac:spMk id="20" creationId="{74F8507F-76C4-484C-970F-39F92EBA769E}"/>
          </ac:spMkLst>
        </pc:spChg>
        <pc:spChg chg="add mod">
          <ac:chgData name="Song, Zhenxing" userId="794239b5-855f-4322-9e4f-eb60923b5d55" providerId="ADAL" clId="{F29C2871-9464-4EC0-B12B-211D1BC2D87E}" dt="2025-05-06T08:40:54.062" v="1490" actId="1076"/>
          <ac:spMkLst>
            <pc:docMk/>
            <pc:sldMk cId="4206762369" sldId="2134804720"/>
            <ac:spMk id="21" creationId="{1D58E867-D0BE-F160-102E-E82674E35642}"/>
          </ac:spMkLst>
        </pc:spChg>
        <pc:spChg chg="add mod">
          <ac:chgData name="Song, Zhenxing" userId="794239b5-855f-4322-9e4f-eb60923b5d55" providerId="ADAL" clId="{F29C2871-9464-4EC0-B12B-211D1BC2D87E}" dt="2025-05-06T07:59:22.466" v="407" actId="1076"/>
          <ac:spMkLst>
            <pc:docMk/>
            <pc:sldMk cId="4206762369" sldId="2134804720"/>
            <ac:spMk id="24" creationId="{9284F6D5-3031-2389-DDA3-1C0017ACA313}"/>
          </ac:spMkLst>
        </pc:spChg>
        <pc:spChg chg="add mod">
          <ac:chgData name="Song, Zhenxing" userId="794239b5-855f-4322-9e4f-eb60923b5d55" providerId="ADAL" clId="{F29C2871-9464-4EC0-B12B-211D1BC2D87E}" dt="2025-05-06T08:41:13.826" v="1507" actId="20577"/>
          <ac:spMkLst>
            <pc:docMk/>
            <pc:sldMk cId="4206762369" sldId="2134804720"/>
            <ac:spMk id="27" creationId="{54C89AE3-5ED7-659C-1C23-C374EE82771E}"/>
          </ac:spMkLst>
        </pc:spChg>
        <pc:spChg chg="add mod">
          <ac:chgData name="Song, Zhenxing" userId="794239b5-855f-4322-9e4f-eb60923b5d55" providerId="ADAL" clId="{F29C2871-9464-4EC0-B12B-211D1BC2D87E}" dt="2025-05-07T05:53:46.999" v="3220" actId="20577"/>
          <ac:spMkLst>
            <pc:docMk/>
            <pc:sldMk cId="4206762369" sldId="2134804720"/>
            <ac:spMk id="28" creationId="{E2D7EAE3-DB3E-391D-1210-0D778C19D223}"/>
          </ac:spMkLst>
        </pc:spChg>
        <pc:graphicFrameChg chg="add mod">
          <ac:chgData name="Song, Zhenxing" userId="794239b5-855f-4322-9e4f-eb60923b5d55" providerId="ADAL" clId="{F29C2871-9464-4EC0-B12B-211D1BC2D87E}" dt="2025-05-06T07:59:31.479" v="409" actId="1076"/>
          <ac:graphicFrameMkLst>
            <pc:docMk/>
            <pc:sldMk cId="4206762369" sldId="2134804720"/>
            <ac:graphicFrameMk id="22" creationId="{511438F5-CCF2-ED14-E85D-0640802EBC3C}"/>
          </ac:graphicFrameMkLst>
        </pc:graphicFrameChg>
        <pc:graphicFrameChg chg="add mod">
          <ac:chgData name="Song, Zhenxing" userId="794239b5-855f-4322-9e4f-eb60923b5d55" providerId="ADAL" clId="{F29C2871-9464-4EC0-B12B-211D1BC2D87E}" dt="2025-05-06T07:59:24.431" v="408" actId="1076"/>
          <ac:graphicFrameMkLst>
            <pc:docMk/>
            <pc:sldMk cId="4206762369" sldId="2134804720"/>
            <ac:graphicFrameMk id="23" creationId="{C0A0FF5A-13F5-1DE9-CB1E-D8D7799D0D78}"/>
          </ac:graphicFrameMkLst>
        </pc:graphicFrameChg>
        <pc:picChg chg="mod">
          <ac:chgData name="Song, Zhenxing" userId="794239b5-855f-4322-9e4f-eb60923b5d55" providerId="ADAL" clId="{F29C2871-9464-4EC0-B12B-211D1BC2D87E}" dt="2025-05-07T05:53:32.375" v="3204" actId="1076"/>
          <ac:picMkLst>
            <pc:docMk/>
            <pc:sldMk cId="4206762369" sldId="2134804720"/>
            <ac:picMk id="8" creationId="{9BF6394A-4206-464C-BAA6-CD81706931A9}"/>
          </ac:picMkLst>
        </pc:picChg>
        <pc:picChg chg="add del mod">
          <ac:chgData name="Song, Zhenxing" userId="794239b5-855f-4322-9e4f-eb60923b5d55" providerId="ADAL" clId="{F29C2871-9464-4EC0-B12B-211D1BC2D87E}" dt="2025-05-06T07:31:25.892" v="323" actId="478"/>
          <ac:picMkLst>
            <pc:docMk/>
            <pc:sldMk cId="4206762369" sldId="2134804720"/>
            <ac:picMk id="10" creationId="{BD86D32A-183E-D96C-2D6F-37B16C6F1C26}"/>
          </ac:picMkLst>
        </pc:picChg>
        <pc:picChg chg="mod">
          <ac:chgData name="Song, Zhenxing" userId="794239b5-855f-4322-9e4f-eb60923b5d55" providerId="ADAL" clId="{F29C2871-9464-4EC0-B12B-211D1BC2D87E}" dt="2025-05-07T05:53:31.387" v="3203" actId="1076"/>
          <ac:picMkLst>
            <pc:docMk/>
            <pc:sldMk cId="4206762369" sldId="2134804720"/>
            <ac:picMk id="11" creationId="{3F0D0536-8AE2-4F36-8920-42ED2452A7C5}"/>
          </ac:picMkLst>
        </pc:picChg>
        <pc:picChg chg="mod">
          <ac:chgData name="Song, Zhenxing" userId="794239b5-855f-4322-9e4f-eb60923b5d55" providerId="ADAL" clId="{F29C2871-9464-4EC0-B12B-211D1BC2D87E}" dt="2025-05-07T05:53:31.387" v="3203" actId="1076"/>
          <ac:picMkLst>
            <pc:docMk/>
            <pc:sldMk cId="4206762369" sldId="2134804720"/>
            <ac:picMk id="12" creationId="{513F45DD-5BF6-4AFF-974B-595D8211C10D}"/>
          </ac:picMkLst>
        </pc:picChg>
        <pc:picChg chg="add mod">
          <ac:chgData name="Song, Zhenxing" userId="794239b5-855f-4322-9e4f-eb60923b5d55" providerId="ADAL" clId="{F29C2871-9464-4EC0-B12B-211D1BC2D87E}" dt="2025-05-07T05:53:32.375" v="3204" actId="1076"/>
          <ac:picMkLst>
            <pc:docMk/>
            <pc:sldMk cId="4206762369" sldId="2134804720"/>
            <ac:picMk id="14" creationId="{A245B4D0-7908-9E06-FCEE-DF732D3AC0D4}"/>
          </ac:picMkLst>
        </pc:picChg>
        <pc:picChg chg="add mod">
          <ac:chgData name="Song, Zhenxing" userId="794239b5-855f-4322-9e4f-eb60923b5d55" providerId="ADAL" clId="{F29C2871-9464-4EC0-B12B-211D1BC2D87E}" dt="2025-05-06T07:58:49.834" v="396" actId="1076"/>
          <ac:picMkLst>
            <pc:docMk/>
            <pc:sldMk cId="4206762369" sldId="2134804720"/>
            <ac:picMk id="18" creationId="{BC1957AF-16A1-41F3-A917-49646CE7D3EE}"/>
          </ac:picMkLst>
        </pc:picChg>
        <pc:picChg chg="add mod">
          <ac:chgData name="Song, Zhenxing" userId="794239b5-855f-4322-9e4f-eb60923b5d55" providerId="ADAL" clId="{F29C2871-9464-4EC0-B12B-211D1BC2D87E}" dt="2025-05-07T05:53:31.387" v="3203" actId="1076"/>
          <ac:picMkLst>
            <pc:docMk/>
            <pc:sldMk cId="4206762369" sldId="2134804720"/>
            <ac:picMk id="26" creationId="{5FE80876-4BE4-A2CD-E5ED-5CE0D8BF43A1}"/>
          </ac:picMkLst>
        </pc:picChg>
      </pc:sldChg>
      <pc:sldChg chg="add del">
        <pc:chgData name="Song, Zhenxing" userId="794239b5-855f-4322-9e4f-eb60923b5d55" providerId="ADAL" clId="{F29C2871-9464-4EC0-B12B-211D1BC2D87E}" dt="2025-05-06T06:47:30.410" v="10" actId="47"/>
        <pc:sldMkLst>
          <pc:docMk/>
          <pc:sldMk cId="3281625905" sldId="2134804738"/>
        </pc:sldMkLst>
      </pc:sldChg>
      <pc:sldChg chg="add del">
        <pc:chgData name="Song, Zhenxing" userId="794239b5-855f-4322-9e4f-eb60923b5d55" providerId="ADAL" clId="{F29C2871-9464-4EC0-B12B-211D1BC2D87E}" dt="2025-05-06T07:04:07.928" v="79" actId="47"/>
        <pc:sldMkLst>
          <pc:docMk/>
          <pc:sldMk cId="4037941927" sldId="2134804739"/>
        </pc:sldMkLst>
      </pc:sldChg>
      <pc:sldChg chg="add del">
        <pc:chgData name="Song, Zhenxing" userId="794239b5-855f-4322-9e4f-eb60923b5d55" providerId="ADAL" clId="{F29C2871-9464-4EC0-B12B-211D1BC2D87E}" dt="2025-05-06T06:47:19.324" v="8" actId="47"/>
        <pc:sldMkLst>
          <pc:docMk/>
          <pc:sldMk cId="2711475592" sldId="2134804743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C568D1-65C2-4CDE-9B8E-4F04E333B056}" type="datetimeFigureOut">
              <a:rPr lang="en-US"/>
              <a:pPr/>
              <a:t>5/6/2025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7575" y="4714875"/>
            <a:ext cx="4962525" cy="4467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CD5AE8-B077-49EA-8F01-5B4042BFABD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395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498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89693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249363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622425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2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7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2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2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2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5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2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5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6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2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5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2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2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(small pictur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FRAME White">
            <a:extLst>
              <a:ext uri="{FF2B5EF4-FFF2-40B4-BE49-F238E27FC236}">
                <a16:creationId xmlns:a16="http://schemas.microsoft.com/office/drawing/2014/main" id="{15DAF63E-3799-4D6A-959B-7DE1A063DBBF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A146DD86-BBB9-4F16-BDE4-93175C4C67B1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7577A2A5-0C0B-4048-A501-27F709D10B73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E2475753-285F-487A-AEEF-6F0E0B816F2F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42B760C1-D34C-47B0-B44E-83FCED00374F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4" name="Bildplatzhalter">
            <a:extLst>
              <a:ext uri="{FF2B5EF4-FFF2-40B4-BE49-F238E27FC236}">
                <a16:creationId xmlns:a16="http://schemas.microsoft.com/office/drawing/2014/main" id="{830BE22D-5FF6-42FB-85B3-DB82480465F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92088" y="188911"/>
            <a:ext cx="11807827" cy="3708402"/>
          </a:xfrm>
          <a:custGeom>
            <a:avLst/>
            <a:gdLst>
              <a:gd name="connsiteX0" fmla="*/ 0 w 11807827"/>
              <a:gd name="connsiteY0" fmla="*/ 0 h 3708402"/>
              <a:gd name="connsiteX1" fmla="*/ 288941 w 11807827"/>
              <a:gd name="connsiteY1" fmla="*/ 0 h 3708402"/>
              <a:gd name="connsiteX2" fmla="*/ 288941 w 11807827"/>
              <a:gd name="connsiteY2" fmla="*/ 1058993 h 3708402"/>
              <a:gd name="connsiteX3" fmla="*/ 2752882 w 11807827"/>
              <a:gd name="connsiteY3" fmla="*/ 1058993 h 3708402"/>
              <a:gd name="connsiteX4" fmla="*/ 2752882 w 11807827"/>
              <a:gd name="connsiteY4" fmla="*/ 0 h 3708402"/>
              <a:gd name="connsiteX5" fmla="*/ 11807827 w 11807827"/>
              <a:gd name="connsiteY5" fmla="*/ 0 h 3708402"/>
              <a:gd name="connsiteX6" fmla="*/ 11807827 w 11807827"/>
              <a:gd name="connsiteY6" fmla="*/ 3708402 h 3708402"/>
              <a:gd name="connsiteX7" fmla="*/ 0 w 11807827"/>
              <a:gd name="connsiteY7" fmla="*/ 3708402 h 3708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07827" h="3708402">
                <a:moveTo>
                  <a:pt x="0" y="0"/>
                </a:moveTo>
                <a:lnTo>
                  <a:pt x="288941" y="0"/>
                </a:lnTo>
                <a:lnTo>
                  <a:pt x="288941" y="1058993"/>
                </a:lnTo>
                <a:lnTo>
                  <a:pt x="2752882" y="1058993"/>
                </a:lnTo>
                <a:lnTo>
                  <a:pt x="2752882" y="0"/>
                </a:lnTo>
                <a:lnTo>
                  <a:pt x="11807827" y="0"/>
                </a:lnTo>
                <a:lnTo>
                  <a:pt x="11807827" y="3708402"/>
                </a:lnTo>
                <a:lnTo>
                  <a:pt x="0" y="3708402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wrap="square" tIns="2628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" name="Titel"/>
          <p:cNvSpPr>
            <a:spLocks noGrp="1"/>
          </p:cNvSpPr>
          <p:nvPr>
            <p:ph type="ctrTitle"/>
          </p:nvPr>
        </p:nvSpPr>
        <p:spPr>
          <a:xfrm>
            <a:off x="479425" y="4149080"/>
            <a:ext cx="11233151" cy="540000"/>
          </a:xfrm>
        </p:spPr>
        <p:txBody>
          <a:bodyPr tIns="0" rIns="0" bIns="0" anchor="t" anchorCtr="0">
            <a:no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Mastertitelformat bearbeiten</a:t>
            </a:r>
            <a:endParaRPr lang="en-US" noProof="0" dirty="0"/>
          </a:p>
        </p:txBody>
      </p:sp>
      <p:sp>
        <p:nvSpPr>
          <p:cNvPr id="3" name="Untertitel"/>
          <p:cNvSpPr>
            <a:spLocks noGrp="1"/>
          </p:cNvSpPr>
          <p:nvPr>
            <p:ph type="subTitle" idx="1"/>
          </p:nvPr>
        </p:nvSpPr>
        <p:spPr>
          <a:xfrm>
            <a:off x="479424" y="4609880"/>
            <a:ext cx="11233151" cy="1198126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800"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Master-Untertitelformat bearbeiten</a:t>
            </a:r>
            <a:endParaRPr lang="en-US" noProof="0" dirty="0"/>
          </a:p>
        </p:txBody>
      </p:sp>
      <p:sp>
        <p:nvSpPr>
          <p:cNvPr id="10" name="URL"/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6034835"/>
            <a:ext cx="3600000" cy="382497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 dirty="0"/>
              <a:t>URL</a:t>
            </a:r>
          </a:p>
        </p:txBody>
      </p:sp>
      <p:sp>
        <p:nvSpPr>
          <p:cNvPr id="11" name="Division"/>
          <p:cNvSpPr>
            <a:spLocks noGrp="1"/>
          </p:cNvSpPr>
          <p:nvPr>
            <p:ph type="body" sz="quarter" idx="11" hasCustomPrompt="1"/>
          </p:nvPr>
        </p:nvSpPr>
        <p:spPr>
          <a:xfrm>
            <a:off x="6312575" y="6031834"/>
            <a:ext cx="5400000" cy="382498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 dirty="0"/>
              <a:t>Business Area Nami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D68D9D-A71B-4491-8644-B948906D9288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B519CFE5-E4F2-47C7-9958-A5112A7564A1}" type="datetime4">
              <a:rPr lang="en-US" smtClean="0"/>
              <a:pPr/>
              <a:t>May 6, 2025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DDCFEC8-1D53-47C5-ACF7-F4A3F6140CB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XX, © Continental AG 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8111916-1B0E-4985-9F06-8277EDF39A5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7" name="Bild" descr="Bild">
            <a:extLst>
              <a:ext uri="{FF2B5EF4-FFF2-40B4-BE49-F238E27FC236}">
                <a16:creationId xmlns:a16="http://schemas.microsoft.com/office/drawing/2014/main" id="{A5394D39-9368-44B9-90A6-4521644703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866" r="56469" b="5734"/>
          <a:stretch/>
        </p:blipFill>
        <p:spPr>
          <a:xfrm>
            <a:off x="185221" y="188911"/>
            <a:ext cx="11813358" cy="3733340"/>
          </a:xfrm>
          <a:prstGeom prst="rect">
            <a:avLst/>
          </a:prstGeom>
          <a:ln w="3175">
            <a:miter lim="400000"/>
          </a:ln>
        </p:spPr>
      </p:pic>
      <p:sp>
        <p:nvSpPr>
          <p:cNvPr id="25" name="Logo">
            <a:extLst>
              <a:ext uri="{FF2B5EF4-FFF2-40B4-BE49-F238E27FC236}">
                <a16:creationId xmlns:a16="http://schemas.microsoft.com/office/drawing/2014/main" id="{05907349-0A63-4400-8904-0092523F0C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1029" y="0"/>
            <a:ext cx="2463941" cy="1247904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 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10C0403-6937-4A51-9FAB-B948151049D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857395" y="505607"/>
            <a:ext cx="4812100" cy="3326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728209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orient="horz" pos="2455">
          <p15:clr>
            <a:srgbClr val="FBAE40"/>
          </p15:clr>
        </p15:guide>
        <p15:guide id="2" pos="302">
          <p15:clr>
            <a:srgbClr val="FBAE40"/>
          </p15:clr>
        </p15:guide>
        <p15:guide id="3" pos="737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B7CAEDC9-3FCE-450A-8086-C3C7F18E795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04924" y="1520824"/>
            <a:ext cx="3679074" cy="4572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Inhaltsplatzhalter 3">
            <a:extLst>
              <a:ext uri="{FF2B5EF4-FFF2-40B4-BE49-F238E27FC236}">
                <a16:creationId xmlns:a16="http://schemas.microsoft.com/office/drawing/2014/main" id="{1FFD298C-9A50-4D7B-938B-36B0E744507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59263" y="1523205"/>
            <a:ext cx="3672000" cy="4572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F1EF5954-3317-44D7-A8B1-CAE9C63D802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112268" y="1520824"/>
            <a:ext cx="3671999" cy="457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8">
            <a:extLst>
              <a:ext uri="{FF2B5EF4-FFF2-40B4-BE49-F238E27FC236}">
                <a16:creationId xmlns:a16="http://schemas.microsoft.com/office/drawing/2014/main" id="{C525BCE3-0679-47A8-9F40-CCABBDB741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6" name="MIO_LOGOPLACEHOLDER#Logo_16x9" hidden="1">
            <a:extLst>
              <a:ext uri="{FF2B5EF4-FFF2-40B4-BE49-F238E27FC236}">
                <a16:creationId xmlns:a16="http://schemas.microsoft.com/office/drawing/2014/main" id="{8C448D31-1F9D-46B9-8C3D-CE6A70EA0C8E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7" name="Masterfeld-Info-EN">
            <a:extLst>
              <a:ext uri="{FF2B5EF4-FFF2-40B4-BE49-F238E27FC236}">
                <a16:creationId xmlns:a16="http://schemas.microsoft.com/office/drawing/2014/main" id="{63F71440-52CB-414F-B926-8F4ADFC90EE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Masterfeld-Info-DE" hidden="1">
            <a:extLst>
              <a:ext uri="{FF2B5EF4-FFF2-40B4-BE49-F238E27FC236}">
                <a16:creationId xmlns:a16="http://schemas.microsoft.com/office/drawing/2014/main" id="{6568D25D-9208-4FF5-9DDC-D50BD8DCEA24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Aktivitäte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Masterfeld-Class-EN">
            <a:extLst>
              <a:ext uri="{FF2B5EF4-FFF2-40B4-BE49-F238E27FC236}">
                <a16:creationId xmlns:a16="http://schemas.microsoft.com/office/drawing/2014/main" id="{FD8EC8A8-538F-418B-8779-77DEB0A52A59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Intern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" name="Masterfeld-Class-DE" hidden="1">
            <a:extLst>
              <a:ext uri="{FF2B5EF4-FFF2-40B4-BE49-F238E27FC236}">
                <a16:creationId xmlns:a16="http://schemas.microsoft.com/office/drawing/2014/main" id="{A6862E4D-B72F-4CB2-A981-E6F069AAC9CC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Intern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EDA6242-2A62-498D-A40B-38E9D6DA479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4AE3CA8-930B-41CD-974D-30BE1569E464}" type="datetime4">
              <a:rPr lang="en-US" smtClean="0"/>
              <a:pPr/>
              <a:t>May 6, 2025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5BB03AA-901B-4D1B-962C-C642C71BC2E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ctr"/>
            <a:r>
              <a:rPr lang="en-US"/>
              <a:t>XX, © Continental AG 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31DC0F9-8FFF-4E46-A52F-5510428137B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5B06350C-93B0-49AF-A317-D2C8B7D18C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187957" y="285160"/>
            <a:ext cx="1606192" cy="1110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7816771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684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pos="5110" userDrawn="1">
          <p15:clr>
            <a:srgbClr val="FBAE40"/>
          </p15:clr>
        </p15:guide>
        <p15:guide id="4" pos="4997" userDrawn="1">
          <p15:clr>
            <a:srgbClr val="FBAE40"/>
          </p15:clr>
        </p15:guide>
        <p15:guide id="5" pos="2570" userDrawn="1">
          <p15:clr>
            <a:srgbClr val="FBAE40"/>
          </p15:clr>
        </p15:guide>
        <p15:guide id="6" pos="257" userDrawn="1">
          <p15:clr>
            <a:srgbClr val="FBAE40"/>
          </p15:clr>
        </p15:guide>
        <p15:guide id="7" orient="horz" pos="3838" userDrawn="1">
          <p15:clr>
            <a:srgbClr val="FBAE40"/>
          </p15:clr>
        </p15:guide>
        <p15:guide id="8" orient="horz" pos="95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3BC0F0D8-9FF5-4203-B448-39BAF7EAAC3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07988" y="1520825"/>
            <a:ext cx="5616575" cy="219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4" name="Inhaltsplatzhalter 3">
            <a:extLst>
              <a:ext uri="{FF2B5EF4-FFF2-40B4-BE49-F238E27FC236}">
                <a16:creationId xmlns:a16="http://schemas.microsoft.com/office/drawing/2014/main" id="{9C105228-F1CC-4FBD-A39D-54C96A5AE75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3950" y="1520825"/>
            <a:ext cx="5580063" cy="219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842B77-A3FA-4B92-A31A-0DF1B28CBD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7D80BD4F-7884-47C7-A491-DDF6970D8D0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07988" y="3898800"/>
            <a:ext cx="5616575" cy="219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6" name="Inhaltsplatzhalter 3">
            <a:extLst>
              <a:ext uri="{FF2B5EF4-FFF2-40B4-BE49-F238E27FC236}">
                <a16:creationId xmlns:a16="http://schemas.microsoft.com/office/drawing/2014/main" id="{43501644-F383-4B53-B31C-362D1CCDBB0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03950" y="3898800"/>
            <a:ext cx="5580063" cy="219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4" name="MIO_LOGOPLACEHOLDER#Logo_16x9" hidden="1">
            <a:extLst>
              <a:ext uri="{FF2B5EF4-FFF2-40B4-BE49-F238E27FC236}">
                <a16:creationId xmlns:a16="http://schemas.microsoft.com/office/drawing/2014/main" id="{AE83C1C4-2440-4C35-8A90-849EB54D0C99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5" name="Masterfeld-Info-EN">
            <a:extLst>
              <a:ext uri="{FF2B5EF4-FFF2-40B4-BE49-F238E27FC236}">
                <a16:creationId xmlns:a16="http://schemas.microsoft.com/office/drawing/2014/main" id="{A4F32111-9F5F-47D1-8FA5-15FB4F65DC6A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Info-DE" hidden="1">
            <a:extLst>
              <a:ext uri="{FF2B5EF4-FFF2-40B4-BE49-F238E27FC236}">
                <a16:creationId xmlns:a16="http://schemas.microsoft.com/office/drawing/2014/main" id="{A565A0D1-29C1-4751-A3DE-B8D9766B712D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Aktivitäte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Masterfeld-Class-EN">
            <a:extLst>
              <a:ext uri="{FF2B5EF4-FFF2-40B4-BE49-F238E27FC236}">
                <a16:creationId xmlns:a16="http://schemas.microsoft.com/office/drawing/2014/main" id="{2020EDE3-6EDC-46BA-9114-0499D5A5E09E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Intern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Masterfeld-Class-DE" hidden="1">
            <a:extLst>
              <a:ext uri="{FF2B5EF4-FFF2-40B4-BE49-F238E27FC236}">
                <a16:creationId xmlns:a16="http://schemas.microsoft.com/office/drawing/2014/main" id="{6E826D26-BB6D-4FDC-BF77-093C80E0D747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Intern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43BA914-5104-45EC-B47B-AF6860250B7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46DB5CC9-9F94-4440-A5D9-E60B3110A0C4}" type="datetime4">
              <a:rPr lang="en-US" smtClean="0"/>
              <a:pPr/>
              <a:t>May 6, 2025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B45B8B6-642B-4F83-911A-02F584B9722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ctr"/>
            <a:r>
              <a:rPr lang="en-US"/>
              <a:t>XX, © Continental AG 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DE9945D-4C35-4C6B-907F-8412ED727BA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404C18C1-F951-493A-A091-DE002A1EEB5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187957" y="285160"/>
            <a:ext cx="1606192" cy="1110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3439980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379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7423" userDrawn="1">
          <p15:clr>
            <a:srgbClr val="FBAE40"/>
          </p15:clr>
        </p15:guide>
        <p15:guide id="4" pos="3908" userDrawn="1">
          <p15:clr>
            <a:srgbClr val="FBAE40"/>
          </p15:clr>
        </p15:guide>
        <p15:guide id="5" orient="horz" pos="2341" userDrawn="1">
          <p15:clr>
            <a:srgbClr val="FBAE40"/>
          </p15:clr>
        </p15:guide>
        <p15:guide id="6" orient="horz" pos="957" userDrawn="1">
          <p15:clr>
            <a:srgbClr val="FBAE40"/>
          </p15:clr>
        </p15:guide>
        <p15:guide id="7" orient="horz" pos="2455" userDrawn="1">
          <p15:clr>
            <a:srgbClr val="FBAE40"/>
          </p15:clr>
        </p15:guide>
        <p15:guide id="8" orient="horz" pos="383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oter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MIO_LOGOPLACEHOLDER#Logo_16x9" hidden="1">
            <a:extLst>
              <a:ext uri="{FF2B5EF4-FFF2-40B4-BE49-F238E27FC236}">
                <a16:creationId xmlns:a16="http://schemas.microsoft.com/office/drawing/2014/main" id="{538DCDCD-709A-47C3-B872-1E7729B2D967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CE7A2DCD-19B9-4230-BE95-2102E5489DE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7EC192F8-B1F4-47DC-A746-001DCD5EE65A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Aktivitäte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D2D4DE71-37CA-4C60-A882-0C4191E06E1D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Intern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6E8844C0-0B34-4969-933B-8EB54078E3BC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Intern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FAD41F3-0F53-498D-8891-916DD8545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A2F340-6518-4EA8-AD96-28CA63617BBF}" type="datetime4">
              <a:rPr lang="en-US" smtClean="0"/>
              <a:pPr/>
              <a:t>May 6, 2025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54DE63F-CE96-406B-8AA0-D15BA990C8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XX, © Continental AG 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D0E597A-3526-48A9-A062-D5CA87A441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81C06E17-9CAE-4BA1-AC31-5AA13D6FE0C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187957" y="285160"/>
            <a:ext cx="1606192" cy="1110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9170719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95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oter Only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9">
            <a:extLst>
              <a:ext uri="{FF2B5EF4-FFF2-40B4-BE49-F238E27FC236}">
                <a16:creationId xmlns:a16="http://schemas.microsoft.com/office/drawing/2014/main" id="{F572801F-5369-450D-8FC5-7EC9A0B0204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grpSp>
        <p:nvGrpSpPr>
          <p:cNvPr id="19" name="FRAME White">
            <a:extLst>
              <a:ext uri="{FF2B5EF4-FFF2-40B4-BE49-F238E27FC236}">
                <a16:creationId xmlns:a16="http://schemas.microsoft.com/office/drawing/2014/main" id="{B6B72D05-1B3B-43F9-9F79-FE5C1F292472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B906AF43-7ED3-47F7-A2C5-CA61EE2A30D4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FAB89114-49EB-47FB-AECB-74CF755AA900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FB3FE2BA-FABF-40EC-A2D8-14B92090D0ED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6B9CFE73-E58D-465A-9C4E-6D6B5CBC526C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MIO_LOGOPLACEHOLDER#Logo_16x9" hidden="1">
            <a:extLst>
              <a:ext uri="{FF2B5EF4-FFF2-40B4-BE49-F238E27FC236}">
                <a16:creationId xmlns:a16="http://schemas.microsoft.com/office/drawing/2014/main" id="{538DCDCD-709A-47C3-B872-1E7729B2D967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cxnSp>
        <p:nvCxnSpPr>
          <p:cNvPr id="11" name="Gerade Verbindung 12">
            <a:extLst>
              <a:ext uri="{FF2B5EF4-FFF2-40B4-BE49-F238E27FC236}">
                <a16:creationId xmlns:a16="http://schemas.microsoft.com/office/drawing/2014/main" id="{2F9BF584-A5D3-4786-989F-D5B795E2A39D}"/>
              </a:ext>
            </a:extLst>
          </p:cNvPr>
          <p:cNvCxnSpPr>
            <a:cxnSpLocks/>
          </p:cNvCxnSpPr>
          <p:nvPr userDrawn="1"/>
        </p:nvCxnSpPr>
        <p:spPr>
          <a:xfrm>
            <a:off x="407987" y="6303600"/>
            <a:ext cx="113760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LOGO">
            <a:extLst>
              <a:ext uri="{FF2B5EF4-FFF2-40B4-BE49-F238E27FC236}">
                <a16:creationId xmlns:a16="http://schemas.microsoft.com/office/drawing/2014/main" id="{AD784115-DDC7-402B-BE08-5AF99DBFF63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0" y="6336000"/>
            <a:ext cx="1054886" cy="324000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CE7A2DCD-19B9-4230-BE95-2102E5489DE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7EC192F8-B1F4-47DC-A746-001DCD5EE65A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Aktivitäte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D2D4DE71-37CA-4C60-A882-0C4191E06E1D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Intern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6E8844C0-0B34-4969-933B-8EB54078E3BC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Intern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65FFC57-6077-4AEA-8BDB-9C82DDC3C2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5DBDA0-CA0A-466B-9847-8E2FD86990B4}" type="datetime4">
              <a:rPr lang="en-US" smtClean="0"/>
              <a:pPr/>
              <a:t>May 6, 2025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5B69130-6EA9-4EBA-9D05-9A378F784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XX, © Continental AG 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EC34FCF-8B3A-4505-9567-B2E672102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E1461719-24CD-4D21-A2A4-C3780BE4590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187957" y="285160"/>
            <a:ext cx="1606192" cy="1110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195441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95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IO_LOGOPLACEHOLDER#Logo_16x9" hidden="1">
            <a:extLst>
              <a:ext uri="{FF2B5EF4-FFF2-40B4-BE49-F238E27FC236}">
                <a16:creationId xmlns:a16="http://schemas.microsoft.com/office/drawing/2014/main" id="{B00BF2E9-B74D-4FDD-95DE-38211AF3D5FF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3" name="Masterfeld-Info-EN">
            <a:extLst>
              <a:ext uri="{FF2B5EF4-FFF2-40B4-BE49-F238E27FC236}">
                <a16:creationId xmlns:a16="http://schemas.microsoft.com/office/drawing/2014/main" id="{6BAB1632-9C6F-4747-8F5E-BBC921261A6C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4" name="Masterfeld-Info-DE" hidden="1">
            <a:extLst>
              <a:ext uri="{FF2B5EF4-FFF2-40B4-BE49-F238E27FC236}">
                <a16:creationId xmlns:a16="http://schemas.microsoft.com/office/drawing/2014/main" id="{A39E4CF0-29B6-43FF-86DF-891652331A3F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Aktivitäte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Class-EN">
            <a:extLst>
              <a:ext uri="{FF2B5EF4-FFF2-40B4-BE49-F238E27FC236}">
                <a16:creationId xmlns:a16="http://schemas.microsoft.com/office/drawing/2014/main" id="{ADC13DB3-94D1-4BAF-8174-DC397C080821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Intern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DE" hidden="1">
            <a:extLst>
              <a:ext uri="{FF2B5EF4-FFF2-40B4-BE49-F238E27FC236}">
                <a16:creationId xmlns:a16="http://schemas.microsoft.com/office/drawing/2014/main" id="{64A8EFFA-7D94-4C22-A264-9815DFCCF529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Intern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6CA0499-F19D-406D-B321-383D04CA1D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D4EF26-2B5B-41DC-9DCF-B8CDAEF81FC3}" type="datetime4">
              <a:rPr lang="en-US" smtClean="0"/>
              <a:pPr/>
              <a:t>May 6, 2025</a:t>
            </a:fld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A9B86F-88DC-4014-B48D-C9E776E6F8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XX, © Continental AG 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485D8B5-A468-406C-971C-66C2C9FEB4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0A67CA02-4869-4799-AE2B-C9714E74169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187957" y="285160"/>
            <a:ext cx="1606192" cy="1110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936676"/>
      </p:ext>
    </p:extLst>
  </p:cSld>
  <p:clrMapOvr>
    <a:masterClrMapping/>
  </p:clrMapOvr>
  <p:transition>
    <p:fade/>
  </p:transition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9">
            <a:extLst>
              <a:ext uri="{FF2B5EF4-FFF2-40B4-BE49-F238E27FC236}">
                <a16:creationId xmlns:a16="http://schemas.microsoft.com/office/drawing/2014/main" id="{9F660214-6D16-4201-B4A9-CD0E25BF0D3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4" name="MIO_LOGOPLACEHOLDER#Logo_16x9" hidden="1">
            <a:extLst>
              <a:ext uri="{FF2B5EF4-FFF2-40B4-BE49-F238E27FC236}">
                <a16:creationId xmlns:a16="http://schemas.microsoft.com/office/drawing/2014/main" id="{BF5D74A2-C7F1-48E8-B7B4-2B0BF866C16F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grpSp>
        <p:nvGrpSpPr>
          <p:cNvPr id="5" name="FRAME White">
            <a:extLst>
              <a:ext uri="{FF2B5EF4-FFF2-40B4-BE49-F238E27FC236}">
                <a16:creationId xmlns:a16="http://schemas.microsoft.com/office/drawing/2014/main" id="{EBF163EA-301A-40A7-96ED-7AB65D4A6D8E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0DB6E66B-88B6-4E3A-8C09-D612356531B4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3B475A27-0B0F-40BF-B298-C6374E380F36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FD8BB1E8-7EE5-4628-A130-B65351475F74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D31A8960-115E-4470-A3BA-85C70CA5D068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6A9946D1-1433-410B-A659-FFBB2ADD370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7FC59BE-F7BF-4604-8FB2-8840B62E3CA2}" type="datetime4">
              <a:rPr lang="en-US" smtClean="0"/>
              <a:pPr/>
              <a:t>May 6, 2025</a:t>
            </a:fld>
            <a:endParaRPr lang="en-US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136E60E0-EECE-4435-B4C9-C30E084313F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XX, © Continental AG </a:t>
            </a:r>
            <a:endParaRPr lang="en-US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40D984B-70ED-4F74-920D-79E213FF4910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C57ADDFB-CBF7-4FE5-9742-36D456887B1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87957" y="285160"/>
            <a:ext cx="1606192" cy="1110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86357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957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9">
            <a:extLst>
              <a:ext uri="{FF2B5EF4-FFF2-40B4-BE49-F238E27FC236}">
                <a16:creationId xmlns:a16="http://schemas.microsoft.com/office/drawing/2014/main" id="{9F660214-6D16-4201-B4A9-CD0E25BF0D3C}"/>
              </a:ext>
            </a:extLst>
          </p:cNvPr>
          <p:cNvSpPr/>
          <p:nvPr/>
        </p:nvSpPr>
        <p:spPr>
          <a:xfrm>
            <a:off x="192088" y="188913"/>
            <a:ext cx="11807825" cy="64801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MIO_LOGOPLACEHOLDER#Logo_16x9" hidden="1">
            <a:extLst>
              <a:ext uri="{FF2B5EF4-FFF2-40B4-BE49-F238E27FC236}">
                <a16:creationId xmlns:a16="http://schemas.microsoft.com/office/drawing/2014/main" id="{77F38C49-D815-4386-B542-AB1FE19DE431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76DFA53-C115-4C27-AAB1-B1BD38BC3B2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FAA3BF4-1BBC-4EC8-B179-3291838AC832}" type="datetime4">
              <a:rPr lang="en-US" smtClean="0"/>
              <a:pPr/>
              <a:t>May 6, 2025</a:t>
            </a:fld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3B37DD6-747B-42BB-89A7-DEEA243E703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XX, © Continental AG 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ADFDFC4-6AB9-476C-85C8-5E032E9D3699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99B9614-022C-4BA2-88E8-AA5EEA3DD72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87957" y="285160"/>
            <a:ext cx="1606192" cy="1110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051533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959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216EF78-F960-4DDD-A05D-51C3ED2FA98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B5BFF98F-BC4A-4939-9D2B-2194B2480082}" type="datetime4">
              <a:rPr lang="en-US" smtClean="0"/>
              <a:pPr/>
              <a:t>May 6, 2025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2D2BCFF-0EDC-4A2A-B941-89F9DCF5DD58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XX, © Continental AG 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181BA31-D102-465D-A1EA-1F0EAFD0EE0C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0527803-6F71-434B-8408-188D30E0AC1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87957" y="285160"/>
            <a:ext cx="1606192" cy="1110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23507"/>
      </p:ext>
    </p:extLst>
  </p:cSld>
  <p:clrMapOvr>
    <a:masterClrMapping/>
  </p:clrMapOvr>
  <p:transition>
    <p:fade/>
  </p:transition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FRAME White">
            <a:extLst>
              <a:ext uri="{FF2B5EF4-FFF2-40B4-BE49-F238E27FC236}">
                <a16:creationId xmlns:a16="http://schemas.microsoft.com/office/drawing/2014/main" id="{C05DB44F-8E9A-4CAF-A8A8-5B916B999FA8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E81F6422-5F2C-4991-B00D-D4C38706071D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8ED0CD5F-6A41-4C2F-ABD4-8E40D31B6E3E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D8655B72-193C-4735-B876-D5A85FA0A439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17143FF9-D8BB-4C70-8C46-48376B1BA863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08014" y="3009600"/>
            <a:ext cx="11375973" cy="2541600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800">
                <a:solidFill>
                  <a:schemeClr val="bg1"/>
                </a:solidFill>
              </a:defRPr>
            </a:lvl1pPr>
            <a:lvl2pPr marL="245527" indent="-245527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2pPr>
            <a:lvl3pPr marL="719649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3pPr>
            <a:lvl4pPr marL="1193770" indent="-23917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4pPr>
            <a:lvl5pPr marL="1676358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08014" y="2107200"/>
            <a:ext cx="11375973" cy="960000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8" name="Masterfeld-Info-EN">
            <a:extLst>
              <a:ext uri="{FF2B5EF4-FFF2-40B4-BE49-F238E27FC236}">
                <a16:creationId xmlns:a16="http://schemas.microsoft.com/office/drawing/2014/main" id="{05851F18-0C9E-4DD0-B776-B4E60644EFEA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Masterfeld-Info-DE" hidden="1">
            <a:extLst>
              <a:ext uri="{FF2B5EF4-FFF2-40B4-BE49-F238E27FC236}">
                <a16:creationId xmlns:a16="http://schemas.microsoft.com/office/drawing/2014/main" id="{D9408A6E-02FF-4400-956C-1FF1870921A7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Aktivitäte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" name="Masterfeld-Class-EN">
            <a:extLst>
              <a:ext uri="{FF2B5EF4-FFF2-40B4-BE49-F238E27FC236}">
                <a16:creationId xmlns:a16="http://schemas.microsoft.com/office/drawing/2014/main" id="{9D157CC6-A0A6-4AB4-AFAD-32EC3D20B9F7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Intern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1" name="Masterfeld-Class-DE" hidden="1">
            <a:extLst>
              <a:ext uri="{FF2B5EF4-FFF2-40B4-BE49-F238E27FC236}">
                <a16:creationId xmlns:a16="http://schemas.microsoft.com/office/drawing/2014/main" id="{B1CA1B1F-6C24-4D70-B043-F9A04941A4AC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Intern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22" name="LOGO">
            <a:extLst>
              <a:ext uri="{FF2B5EF4-FFF2-40B4-BE49-F238E27FC236}">
                <a16:creationId xmlns:a16="http://schemas.microsoft.com/office/drawing/2014/main" id="{3E6F4728-B37E-480B-9900-02FBCCCB791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0" y="6336000"/>
            <a:ext cx="1054886" cy="32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7E0B444-4054-4052-A13B-B11BD7B30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3767C1-C579-4DA9-8D9F-F494CEDBFA53}" type="datetime4">
              <a:rPr lang="en-US" smtClean="0"/>
              <a:pPr/>
              <a:t>May 6, 2025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FCE1938-7EEC-44F3-969E-567467A0B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XX, © Continental AG 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BA81E4B-02C4-44F7-B1C3-423E7A8187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5424647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1933" userDrawn="1">
          <p15:clr>
            <a:srgbClr val="FBAE40"/>
          </p15:clr>
        </p15:guide>
        <p15:guide id="4" orient="horz" pos="349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07988" y="3009600"/>
            <a:ext cx="11375999" cy="2541600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800">
                <a:solidFill>
                  <a:schemeClr val="tx1"/>
                </a:solidFill>
              </a:defRPr>
            </a:lvl1pPr>
            <a:lvl2pPr marL="245527" indent="-245527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2pPr>
            <a:lvl3pPr marL="719649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3pPr>
            <a:lvl4pPr marL="1193770" indent="-23917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4pPr>
            <a:lvl5pPr marL="1676358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07988" y="2107200"/>
            <a:ext cx="11375999" cy="96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1" name="Masterfeld-Info-EN">
            <a:extLst>
              <a:ext uri="{FF2B5EF4-FFF2-40B4-BE49-F238E27FC236}">
                <a16:creationId xmlns:a16="http://schemas.microsoft.com/office/drawing/2014/main" id="{7D1AE2D1-92EA-4E37-8A5F-F31ED6BED783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2B836A30-9063-4E81-90C3-717FA2E9D666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Aktivitäte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C138A886-25C1-48B9-9C2A-A161924C947B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Intern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FA1AEB5C-4AD7-45EB-9C78-BEA5B35C960C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Intern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BE35D26-FC61-4045-940E-5F22C36766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862CD7-C1E7-4992-B0C0-414EA43F0E0D}" type="datetime4">
              <a:rPr lang="en-US" smtClean="0"/>
              <a:pPr/>
              <a:t>May 6, 2025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A51F85F-C28C-489B-B9EA-96BDEC009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XX, © Continental AG 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F9E5F00-FA59-4081-9CF3-90733688F7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F87C27DC-49BE-4A8F-B04C-2378D3FEC46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187957" y="285160"/>
            <a:ext cx="1606192" cy="1110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0225505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3499" userDrawn="1">
          <p15:clr>
            <a:srgbClr val="FBAE40"/>
          </p15:clr>
        </p15:guide>
        <p15:guide id="4" orient="horz" pos="1933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FRAME White">
            <a:extLst>
              <a:ext uri="{FF2B5EF4-FFF2-40B4-BE49-F238E27FC236}">
                <a16:creationId xmlns:a16="http://schemas.microsoft.com/office/drawing/2014/main" id="{C1F5C252-095C-414D-9D37-061542CCFFC5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7993D444-7D1D-4CCB-B280-7F5A501F6C30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D7C4A005-12F6-4802-A703-1B1E6F3F605F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5EF202C7-F2B9-443B-ABBD-DB6B139E5115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DE6D648D-0C7C-45BD-9D29-E24E7DFA9A5D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E50BA2E4-AA81-4E1F-A271-8D38B04809F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Titel 7">
            <a:extLst>
              <a:ext uri="{FF2B5EF4-FFF2-40B4-BE49-F238E27FC236}">
                <a16:creationId xmlns:a16="http://schemas.microsoft.com/office/drawing/2014/main" id="{ABA3C9F2-E253-421F-945D-D688619224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3" name="MIO_LOGOPLACEHOLDER#Logo_16x9" hidden="1">
            <a:extLst>
              <a:ext uri="{FF2B5EF4-FFF2-40B4-BE49-F238E27FC236}">
                <a16:creationId xmlns:a16="http://schemas.microsoft.com/office/drawing/2014/main" id="{36AB968B-E423-45A9-BCC2-8AD32505936A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pic>
        <p:nvPicPr>
          <p:cNvPr id="19" name="LOGO">
            <a:extLst>
              <a:ext uri="{FF2B5EF4-FFF2-40B4-BE49-F238E27FC236}">
                <a16:creationId xmlns:a16="http://schemas.microsoft.com/office/drawing/2014/main" id="{1C09B27F-8BF5-4652-B0A7-68636C1D475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0" y="6336000"/>
            <a:ext cx="1054886" cy="324000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Masterfeld-Info-EN">
            <a:extLst>
              <a:ext uri="{FF2B5EF4-FFF2-40B4-BE49-F238E27FC236}">
                <a16:creationId xmlns:a16="http://schemas.microsoft.com/office/drawing/2014/main" id="{71443D15-BEDB-40DE-94E4-DAC71EB66161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1" name="Masterfeld-Info-DE" hidden="1">
            <a:extLst>
              <a:ext uri="{FF2B5EF4-FFF2-40B4-BE49-F238E27FC236}">
                <a16:creationId xmlns:a16="http://schemas.microsoft.com/office/drawing/2014/main" id="{8C6396D6-849A-4ABC-8DBD-C38E1845BAAB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Aktivitäte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4" name="Masterfeld-Class-EN">
            <a:extLst>
              <a:ext uri="{FF2B5EF4-FFF2-40B4-BE49-F238E27FC236}">
                <a16:creationId xmlns:a16="http://schemas.microsoft.com/office/drawing/2014/main" id="{21B62723-1E18-4553-90EC-FFCFA4728AE5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Intern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1" name="Masterfeld-Class-DE" hidden="1">
            <a:extLst>
              <a:ext uri="{FF2B5EF4-FFF2-40B4-BE49-F238E27FC236}">
                <a16:creationId xmlns:a16="http://schemas.microsoft.com/office/drawing/2014/main" id="{3CC02D7B-F6BC-4A33-921C-E8D701D211CA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Intern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28242E24-BED6-488F-89AD-B05C9CBDF5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E5DE381-A2BD-42EB-BB94-B83735B12BF0}" type="datetime4">
              <a:rPr lang="en-US" smtClean="0"/>
              <a:pPr/>
              <a:t>May 6, 2025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9A66109-FA20-48C9-8114-DD7A725FE27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ctr"/>
            <a:r>
              <a:rPr lang="en-US"/>
              <a:t>XX, © Continental AG 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5069DFF-5F42-4A6C-9AE0-FCC1F266219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9897048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95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FRAME White">
            <a:extLst>
              <a:ext uri="{FF2B5EF4-FFF2-40B4-BE49-F238E27FC236}">
                <a16:creationId xmlns:a16="http://schemas.microsoft.com/office/drawing/2014/main" id="{D8907BB1-7EC8-46B6-B9E0-F48BA8DC6A76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C68C66BB-3A46-4180-86AC-2BB0369F3D1B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E5234FAD-2CB4-4FE8-BE96-5E642C5F7CFA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7914A24F-19F2-49A3-B8B0-523BA8ABAAFD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A4233672-8FA4-4A80-95BA-40AE88B08365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08014" y="3009600"/>
            <a:ext cx="11375999" cy="2541600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800">
                <a:solidFill>
                  <a:schemeClr val="bg1"/>
                </a:solidFill>
              </a:defRPr>
            </a:lvl1pPr>
            <a:lvl2pPr marL="245527" indent="-245527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2pPr>
            <a:lvl3pPr marL="719649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3pPr>
            <a:lvl4pPr marL="1193770" indent="-23917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4pPr>
            <a:lvl5pPr marL="1676358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08014" y="2107200"/>
            <a:ext cx="11375999" cy="96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cxnSp>
        <p:nvCxnSpPr>
          <p:cNvPr id="24" name="Gerade Verbindung 22">
            <a:extLst>
              <a:ext uri="{FF2B5EF4-FFF2-40B4-BE49-F238E27FC236}">
                <a16:creationId xmlns:a16="http://schemas.microsoft.com/office/drawing/2014/main" id="{8E816380-23F1-4C54-9752-B2207D5DE92E}"/>
              </a:ext>
            </a:extLst>
          </p:cNvPr>
          <p:cNvCxnSpPr>
            <a:cxnSpLocks/>
          </p:cNvCxnSpPr>
          <p:nvPr/>
        </p:nvCxnSpPr>
        <p:spPr>
          <a:xfrm>
            <a:off x="407987" y="6303600"/>
            <a:ext cx="11376000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Masterfeld-Info-EN">
            <a:extLst>
              <a:ext uri="{FF2B5EF4-FFF2-40B4-BE49-F238E27FC236}">
                <a16:creationId xmlns:a16="http://schemas.microsoft.com/office/drawing/2014/main" id="{0BC6F472-70FC-455A-BA0A-031497632A2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bg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" name="Masterfeld-Info-DE" hidden="1">
            <a:extLst>
              <a:ext uri="{FF2B5EF4-FFF2-40B4-BE49-F238E27FC236}">
                <a16:creationId xmlns:a16="http://schemas.microsoft.com/office/drawing/2014/main" id="{08D8DE0F-7017-4D43-8BC5-1316FA5C0AA2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bg1"/>
                </a:solidFill>
                <a:latin typeface="+mn-lt"/>
              </a:rPr>
              <a:t>Aktivitäten</a:t>
            </a:r>
            <a:endParaRPr lang="de-DE" sz="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Masterfeld-Class-EN">
            <a:extLst>
              <a:ext uri="{FF2B5EF4-FFF2-40B4-BE49-F238E27FC236}">
                <a16:creationId xmlns:a16="http://schemas.microsoft.com/office/drawing/2014/main" id="{EEC07142-17B8-4453-B2BB-77D6CD2405C7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bg1"/>
                </a:solidFill>
                <a:latin typeface="+mn-lt"/>
              </a:rPr>
              <a:t>Internal</a:t>
            </a:r>
            <a:endParaRPr lang="de-DE" sz="8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1" name="Masterfeld-Class-DE" hidden="1">
            <a:extLst>
              <a:ext uri="{FF2B5EF4-FFF2-40B4-BE49-F238E27FC236}">
                <a16:creationId xmlns:a16="http://schemas.microsoft.com/office/drawing/2014/main" id="{14AE16D3-B89C-4E97-BF3F-5500CFF99363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bg1"/>
                </a:solidFill>
                <a:latin typeface="+mn-lt"/>
              </a:rPr>
              <a:t>Intern</a:t>
            </a:r>
            <a:endParaRPr lang="de-DE" sz="8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5AAEF45-A137-434D-A4B8-D75B643937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563F88B-E5F8-4849-989B-F1CDC51DC67E}" type="datetime4">
              <a:rPr lang="en-US" smtClean="0"/>
              <a:pPr/>
              <a:t>May 6, 2025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FFC364D-AEFA-4E82-9B96-40B90A5D9E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/>
              <a:t>XX, © Continental AG 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930359B-EF64-4358-BE91-00C2D43982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430181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1933" userDrawn="1">
          <p15:clr>
            <a:srgbClr val="FBAE40"/>
          </p15:clr>
        </p15:guide>
        <p15:guide id="4" orient="horz" pos="349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45354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FD5AA68-DBF1-444E-A103-865068DF8400}" type="datetime1">
              <a:rPr lang="en-US" altLang="zh-CN" noProof="0" smtClean="0"/>
              <a:t>5/6/2025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 noProof="0"/>
              <a:t>Li He02© Continental A CEP CCQ FFBS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6053537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1089BDB9-B70F-4B87-A3C1-AFE761FA68B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504B9673-B248-485B-A90A-7C5253EC8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MIO_LOGOPLACEHOLDER#Logo_16x9" hidden="1">
            <a:extLst>
              <a:ext uri="{FF2B5EF4-FFF2-40B4-BE49-F238E27FC236}">
                <a16:creationId xmlns:a16="http://schemas.microsoft.com/office/drawing/2014/main" id="{32F9D74A-FBE0-425D-9642-995123835A75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E788FAB4-76CB-4C6D-B621-6A743E02A41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F7E1ACF2-8A1B-4DB6-BE92-3D6012F45AAD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Aktivitäte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D947D2E2-B9BD-4867-96BB-0E2A9A807420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Intern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C339FBF6-C82F-48A2-A44B-1587C009EB0D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Intern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ACC22E2-F21B-4290-B56B-022F9C2C4E7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AA07FD7-AC66-46D8-97F0-D9F83B70AD48}" type="datetime4">
              <a:rPr lang="en-US" smtClean="0"/>
              <a:pPr/>
              <a:t>May 6, 2025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A898C5E-943F-4EF0-A433-E752FF2A5DA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ctr"/>
            <a:r>
              <a:rPr lang="en-US"/>
              <a:t>XX, © Continental AG 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15EB725-AAD5-4A3E-84A9-A9B8DA2644A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BC6D34E-31BA-4160-99E6-174A31F55D5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187957" y="285160"/>
            <a:ext cx="1606192" cy="1110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322388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957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FRAME White">
            <a:extLst>
              <a:ext uri="{FF2B5EF4-FFF2-40B4-BE49-F238E27FC236}">
                <a16:creationId xmlns:a16="http://schemas.microsoft.com/office/drawing/2014/main" id="{DF0D21E1-EB11-4E6F-962A-B0C73D3C627E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BC80263E-68F3-4EDE-8FEB-3AE95A63F8E0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83301B39-53C0-491B-A5BC-6A8BDE270A00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23603E53-C4F3-40F7-98A1-E3F82F641E16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2B921106-DB01-4D8D-A080-83711569C4F4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4" name="Gerade Verbindung 21">
            <a:extLst>
              <a:ext uri="{FF2B5EF4-FFF2-40B4-BE49-F238E27FC236}">
                <a16:creationId xmlns:a16="http://schemas.microsoft.com/office/drawing/2014/main" id="{120426E5-1979-46F0-BD1F-FD44148F322E}"/>
              </a:ext>
            </a:extLst>
          </p:cNvPr>
          <p:cNvCxnSpPr>
            <a:cxnSpLocks/>
          </p:cNvCxnSpPr>
          <p:nvPr/>
        </p:nvCxnSpPr>
        <p:spPr>
          <a:xfrm>
            <a:off x="407987" y="6303600"/>
            <a:ext cx="11376000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el 3">
            <a:extLst>
              <a:ext uri="{FF2B5EF4-FFF2-40B4-BE49-F238E27FC236}">
                <a16:creationId xmlns:a16="http://schemas.microsoft.com/office/drawing/2014/main" id="{BCD1A06E-AAB2-4C3E-A402-65E534D6FF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55251EB-B21B-4850-B76F-AAD6E6E60C0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MIO_LOGOPLACEHOLDER#Logo_16x9" hidden="1">
            <a:extLst>
              <a:ext uri="{FF2B5EF4-FFF2-40B4-BE49-F238E27FC236}">
                <a16:creationId xmlns:a16="http://schemas.microsoft.com/office/drawing/2014/main" id="{B5313518-8381-4EBE-B966-3FB299AE8895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8" name="Masterfeld-Info-EN">
            <a:extLst>
              <a:ext uri="{FF2B5EF4-FFF2-40B4-BE49-F238E27FC236}">
                <a16:creationId xmlns:a16="http://schemas.microsoft.com/office/drawing/2014/main" id="{9B678141-DCD3-441A-A4B8-97BA49CB00D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bg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" name="Masterfeld-Info-DE" hidden="1">
            <a:extLst>
              <a:ext uri="{FF2B5EF4-FFF2-40B4-BE49-F238E27FC236}">
                <a16:creationId xmlns:a16="http://schemas.microsoft.com/office/drawing/2014/main" id="{F20B2B3D-1480-4E51-9E7D-83FE04DAC377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bg1"/>
                </a:solidFill>
                <a:latin typeface="+mn-lt"/>
              </a:rPr>
              <a:t>Aktivitäten</a:t>
            </a:r>
            <a:endParaRPr lang="de-DE" sz="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Masterfeld-Class-EN">
            <a:extLst>
              <a:ext uri="{FF2B5EF4-FFF2-40B4-BE49-F238E27FC236}">
                <a16:creationId xmlns:a16="http://schemas.microsoft.com/office/drawing/2014/main" id="{85A829C0-D5AF-4F8E-8D53-81488C60B856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bg1"/>
                </a:solidFill>
                <a:latin typeface="+mn-lt"/>
              </a:rPr>
              <a:t>Internal</a:t>
            </a:r>
            <a:endParaRPr lang="de-DE" sz="8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" name="Masterfeld-Class-DE" hidden="1">
            <a:extLst>
              <a:ext uri="{FF2B5EF4-FFF2-40B4-BE49-F238E27FC236}">
                <a16:creationId xmlns:a16="http://schemas.microsoft.com/office/drawing/2014/main" id="{A1E7FC13-9662-4FA1-B109-B7035A00C1F2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bg1"/>
                </a:solidFill>
                <a:latin typeface="+mn-lt"/>
              </a:rPr>
              <a:t>Intern</a:t>
            </a:r>
            <a:endParaRPr lang="de-DE" sz="8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E9A42A0-1A19-435A-8B47-386CD8F86E6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0CFD42C-F72E-417E-931C-983C77762061}" type="datetime4">
              <a:rPr lang="en-US" smtClean="0"/>
              <a:pPr/>
              <a:t>May 6, 2025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F8F3E12-F1E2-43C8-A3EB-23A8F53F44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/>
              <a:t>XX, © Continental AG 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D80B8F5-B54A-4617-A5A1-FD174C20F1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494908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959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35">
            <a:extLst>
              <a:ext uri="{FF2B5EF4-FFF2-40B4-BE49-F238E27FC236}">
                <a16:creationId xmlns:a16="http://schemas.microsoft.com/office/drawing/2014/main" id="{E49E8D9E-4A7F-4415-BDD1-DC3FF81F73D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noProof="0" dirty="0">
              <a:solidFill>
                <a:schemeClr val="bg1"/>
              </a:solidFill>
            </a:endParaRPr>
          </a:p>
        </p:txBody>
      </p:sp>
      <p:grpSp>
        <p:nvGrpSpPr>
          <p:cNvPr id="4" name="FRAME White">
            <a:extLst>
              <a:ext uri="{FF2B5EF4-FFF2-40B4-BE49-F238E27FC236}">
                <a16:creationId xmlns:a16="http://schemas.microsoft.com/office/drawing/2014/main" id="{13EC784F-26C5-43EB-88BD-9BB8E2FA7B3F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618F376B-4B06-4196-94C7-4A2666BC7EC9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24C2CE10-0B1C-48C8-A880-CC13F7D83597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DE8FA04C-C292-45BC-ADD3-95542A582B99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6EFF035-90EF-4A7B-BD8C-8A6C7547D522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365214"/>
            <a:ext cx="11375997" cy="9359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7540C32-2016-4E0F-8E09-D53276BC9234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E55637DC-365B-4995-AF50-CFF90A0F6A39}" type="datetime4">
              <a:rPr lang="en-US" smtClean="0"/>
              <a:pPr/>
              <a:t>May 6, 2025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308E8A81-A027-4543-8523-E752F8D1E1C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XX, © Continental AG 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148C2BC-0258-48E0-B33A-97320DC4431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022490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35">
            <a:extLst>
              <a:ext uri="{FF2B5EF4-FFF2-40B4-BE49-F238E27FC236}">
                <a16:creationId xmlns:a16="http://schemas.microsoft.com/office/drawing/2014/main" id="{E49E8D9E-4A7F-4415-BDD1-DC3FF81F73D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noProof="0" dirty="0">
              <a:solidFill>
                <a:schemeClr val="bg1"/>
              </a:solidFill>
            </a:endParaRPr>
          </a:p>
        </p:txBody>
      </p:sp>
      <p:grpSp>
        <p:nvGrpSpPr>
          <p:cNvPr id="4" name="FRAME White">
            <a:extLst>
              <a:ext uri="{FF2B5EF4-FFF2-40B4-BE49-F238E27FC236}">
                <a16:creationId xmlns:a16="http://schemas.microsoft.com/office/drawing/2014/main" id="{9404E723-EA2F-4C7E-916C-DCAA674E15B3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20C446C3-A381-44D7-B090-94E5954647BF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53CA6365-A5B1-49A3-A341-DE4796BEF68C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8A7EBC55-77B4-4F0D-BBEC-C59409D8A047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59F2B1-71EC-4B8E-A66F-D79E9DA85735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365214"/>
            <a:ext cx="11375997" cy="93599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D13C6B-34CD-4AC1-993E-8BDBB7884FE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563AA5C6-CF1D-4CFE-B1E4-5BFA76469EC5}" type="datetime4">
              <a:rPr lang="en-US" smtClean="0"/>
              <a:pPr/>
              <a:t>May 6, 2025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FC0BFC7-788E-4E24-9029-89B78C996E5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XX, © Continental AG 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D4F40694-05EA-49FC-996D-80AC0FAD3B1A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424771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E6681138-8BDE-4A59-B317-F143904C074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07988" y="1520826"/>
            <a:ext cx="11376025" cy="2052639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08B235C7-A324-4329-88AD-6A90AC602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MIO_LOGOPLACEHOLDER#Logo_16x9" hidden="1">
            <a:extLst>
              <a:ext uri="{FF2B5EF4-FFF2-40B4-BE49-F238E27FC236}">
                <a16:creationId xmlns:a16="http://schemas.microsoft.com/office/drawing/2014/main" id="{99ED5E01-D7A3-4C00-8B85-854DC5E74FF9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86F8EC9E-1AEB-4B13-B233-C5D28F109AD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0444BCA8-BAAE-45F1-BF20-9C985694BA08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Aktivitäte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97373417-F7FA-4C7C-AA99-5CA17883335A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Intern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18F89E35-4A03-46B8-BF60-0D6BE509F842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Intern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6758724-2774-4003-B210-E8EC4053BE3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664AC2E-2B69-4CE1-8655-D4826F1370D8}" type="datetime4">
              <a:rPr lang="en-US" smtClean="0"/>
              <a:pPr/>
              <a:t>May 6, 2025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B18D2EA-30EC-47FC-A49F-9A4EC99FEC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ctr"/>
            <a:r>
              <a:rPr lang="en-US"/>
              <a:t>XX, © Continental AG 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1B7DB90-8B7C-489D-8168-F01E066FC38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80B1B516-A9BE-431D-8308-87C35EB028C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187957" y="285160"/>
            <a:ext cx="1606192" cy="1110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356753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2251" userDrawn="1">
          <p15:clr>
            <a:srgbClr val="FBAE40"/>
          </p15:clr>
        </p15:guide>
        <p15:guide id="4" orient="horz" pos="958" userDrawn="1">
          <p15:clr>
            <a:srgbClr val="FBAE40"/>
          </p15:clr>
        </p15:guide>
        <p15:guide id="5" orient="horz" pos="3838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80F6B8F5-B9AF-44C3-89D8-96E3D5B3B757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07988" y="3753036"/>
            <a:ext cx="11376025" cy="2340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35A8D545-A93C-45AE-904B-B3D2A6DBAB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MIO_LOGOPLACEHOLDER#Logo_16x9" hidden="1">
            <a:extLst>
              <a:ext uri="{FF2B5EF4-FFF2-40B4-BE49-F238E27FC236}">
                <a16:creationId xmlns:a16="http://schemas.microsoft.com/office/drawing/2014/main" id="{50CB5D9B-214B-42ED-A44B-ED98105C3A9C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F91FA335-A736-4869-A5F5-27416157CD3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1C3BDA8D-21CF-4C1C-92C8-92B4F9AC1462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Aktivitäte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92294B2A-223A-41EB-A4D3-73498DD17D48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Intern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2D3E43CD-D260-43D5-985B-A6070AF35D87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Intern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C9E9889-D9B8-4464-90AE-1C5694A443C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3CE314C-ADBB-4253-A8D8-F8D6EF22A316}" type="datetime4">
              <a:rPr lang="en-US" smtClean="0"/>
              <a:pPr/>
              <a:t>May 6, 2025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9D05C85-19A1-4720-A46F-ADB94A001E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ctr"/>
            <a:r>
              <a:rPr lang="en-US"/>
              <a:t>XX, © Continental AG 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C34AA7-56F5-4DFB-BB0A-73487C84C2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CB2635CB-A36F-4738-BAF1-B2EEC3C1EC8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187957" y="285160"/>
            <a:ext cx="1606192" cy="1110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9293797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2364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  <p15:guide id="5" orient="horz" pos="95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4B7171F9-7DA5-4A30-B943-1B7EB8CD53F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07989" y="1520826"/>
            <a:ext cx="5616574" cy="4572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F174CBBD-5F0D-4FFF-8F95-BF88F43E447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03950" y="1520826"/>
            <a:ext cx="5580064" cy="4572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D0DE6B78-D7ED-430E-8E20-CAE06AA093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MIO_LOGOPLACEHOLDER#Logo_16x9" hidden="1">
            <a:extLst>
              <a:ext uri="{FF2B5EF4-FFF2-40B4-BE49-F238E27FC236}">
                <a16:creationId xmlns:a16="http://schemas.microsoft.com/office/drawing/2014/main" id="{F9B4AFCB-DB45-49B7-B777-4CDF88C0ABB9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23D7AA8A-E342-4FD0-BCBD-1470358DADF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0A8BA5EE-6B72-40E7-8ED5-DC20CE557046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Aktivitäte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E348A05D-E816-4522-A298-6D62550566C0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Intern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Masterfeld-Class-DE" hidden="1">
            <a:extLst>
              <a:ext uri="{FF2B5EF4-FFF2-40B4-BE49-F238E27FC236}">
                <a16:creationId xmlns:a16="http://schemas.microsoft.com/office/drawing/2014/main" id="{38C380F1-7DBC-4B80-AD8A-F20330358945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Intern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CCA592D-71D0-4327-ABCD-E620EE710FE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5E9985B-ED85-4BEE-A73A-9E79563087E1}" type="datetime4">
              <a:rPr lang="en-US" smtClean="0"/>
              <a:pPr/>
              <a:t>May 6, 2025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AAB68FE-1F4D-466F-8B73-E98C083921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ctr"/>
            <a:r>
              <a:rPr lang="en-US"/>
              <a:t>XX, © Continental AG 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A6B1C62-6525-45D9-8F43-B4254E68020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4B0E7948-A7E4-4501-AFE8-F917DCACFE2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187957" y="285160"/>
            <a:ext cx="1606192" cy="1110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56835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pos="3795" userDrawn="1">
          <p15:clr>
            <a:srgbClr val="FBAE40"/>
          </p15:clr>
        </p15:guide>
        <p15:guide id="4" pos="3908" userDrawn="1">
          <p15:clr>
            <a:srgbClr val="FBAE40"/>
          </p15:clr>
        </p15:guide>
        <p15:guide id="5" orient="horz" pos="3838" userDrawn="1">
          <p15:clr>
            <a:srgbClr val="FBAE40"/>
          </p15:clr>
        </p15:guide>
        <p15:guide id="6" orient="horz" pos="95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07989" y="379498"/>
            <a:ext cx="9432428" cy="935994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07987" y="1520791"/>
            <a:ext cx="11375997" cy="4572000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5"/>
            <a:r>
              <a:rPr lang="en-US" noProof="0" dirty="0" err="1"/>
              <a:t>Sechs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6"/>
            <a:r>
              <a:rPr lang="en-US" noProof="0" dirty="0" err="1"/>
              <a:t>Sieb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7"/>
            <a:r>
              <a:rPr lang="en-US" noProof="0" dirty="0" err="1"/>
              <a:t>Ach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8"/>
            <a:r>
              <a:rPr lang="en-US" noProof="0" dirty="0" err="1"/>
              <a:t>Neun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9698400" y="6422400"/>
            <a:ext cx="972000" cy="15044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7BC28992-591E-418A-8757-2DF6A4DB407A}" type="datetime4">
              <a:rPr lang="en-US" smtClean="0"/>
              <a:pPr/>
              <a:t>May 6, 2025</a:t>
            </a:fld>
            <a:endParaRPr lang="en-US" dirty="0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11280576" y="6422400"/>
            <a:ext cx="503411" cy="15044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empower - DO NOT DELETE!!!"/>
          <p:cNvSpPr/>
          <p:nvPr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empower - DO NOT DELETE!!!" hidden="1"/>
          <p:cNvSpPr/>
          <p:nvPr>
            <p:custDataLst>
              <p:tags r:id="rId24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254704-E119-42D2-B731-CE591F07E0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36000" y="6422400"/>
            <a:ext cx="2520000" cy="15044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US"/>
              <a:t>XX, © Continental AG </a:t>
            </a:r>
            <a:endParaRPr lang="en-US" dirty="0"/>
          </a:p>
        </p:txBody>
      </p:sp>
      <p:cxnSp>
        <p:nvCxnSpPr>
          <p:cNvPr id="11" name="Black Line">
            <a:extLst>
              <a:ext uri="{FF2B5EF4-FFF2-40B4-BE49-F238E27FC236}">
                <a16:creationId xmlns:a16="http://schemas.microsoft.com/office/drawing/2014/main" id="{E9378969-696F-42B5-9445-64508D338C85}"/>
              </a:ext>
            </a:extLst>
          </p:cNvPr>
          <p:cNvCxnSpPr>
            <a:cxnSpLocks/>
          </p:cNvCxnSpPr>
          <p:nvPr userDrawn="1"/>
        </p:nvCxnSpPr>
        <p:spPr>
          <a:xfrm>
            <a:off x="407987" y="6303600"/>
            <a:ext cx="113760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LOGO">
            <a:extLst>
              <a:ext uri="{FF2B5EF4-FFF2-40B4-BE49-F238E27FC236}">
                <a16:creationId xmlns:a16="http://schemas.microsoft.com/office/drawing/2014/main" id="{3DBA5B3A-85CC-4C61-82AD-A382AD3B0038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24590" y="6336000"/>
            <a:ext cx="1054886" cy="324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EEE26220-8385-4CA1-8964-1A96D462E71E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>
            <a:off x="10187957" y="285160"/>
            <a:ext cx="1606192" cy="1110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532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5" r:id="rId2"/>
    <p:sldLayoutId id="2147483756" r:id="rId3"/>
    <p:sldLayoutId id="2147483757" r:id="rId4"/>
    <p:sldLayoutId id="2147483759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  <p:sldLayoutId id="2147483777" r:id="rId13"/>
    <p:sldLayoutId id="2147483768" r:id="rId14"/>
    <p:sldLayoutId id="2147483769" r:id="rId15"/>
    <p:sldLayoutId id="2147483771" r:id="rId16"/>
    <p:sldLayoutId id="2147483772" r:id="rId17"/>
    <p:sldLayoutId id="2147483774" r:id="rId18"/>
    <p:sldLayoutId id="2147483775" r:id="rId19"/>
    <p:sldLayoutId id="2147483776" r:id="rId20"/>
    <p:sldLayoutId id="2147483778" r:id="rId21"/>
  </p:sldLayoutIdLst>
  <p:transition>
    <p:fade/>
  </p:transition>
  <p:hf hdr="0"/>
  <p:txStyles>
    <p:titleStyle>
      <a:lvl1pPr algn="l" defTabSz="1219170" rtl="0" eaLnBrk="1" latinLnBrk="0" hangingPunct="1">
        <a:lnSpc>
          <a:spcPct val="95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80975" indent="-180975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360000" indent="-180975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54000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720000" indent="-180975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898525" indent="-180975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90000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9">
          <p15:clr>
            <a:srgbClr val="F26B43"/>
          </p15:clr>
        </p15:guide>
        <p15:guide id="2" pos="121">
          <p15:clr>
            <a:srgbClr val="F26B43"/>
          </p15:clr>
        </p15:guide>
        <p15:guide id="3" pos="7559">
          <p15:clr>
            <a:srgbClr val="F26B43"/>
          </p15:clr>
        </p15:guide>
        <p15:guide id="4" orient="horz" pos="420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image" Target="../media/image7.png"/><Relationship Id="rId7" Type="http://schemas.openxmlformats.org/officeDocument/2006/relationships/oleObject" Target="../embeddings/oleObject1.bin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0.png"/><Relationship Id="rId11" Type="http://schemas.openxmlformats.org/officeDocument/2006/relationships/image" Target="../media/image13.png"/><Relationship Id="rId5" Type="http://schemas.openxmlformats.org/officeDocument/2006/relationships/image" Target="../media/image9.png"/><Relationship Id="rId10" Type="http://schemas.openxmlformats.org/officeDocument/2006/relationships/image" Target="../media/image12.emf"/><Relationship Id="rId4" Type="http://schemas.openxmlformats.org/officeDocument/2006/relationships/image" Target="../media/image8.png"/><Relationship Id="rId9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0B30115-06BC-48AB-B4CF-6759FF8172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364" y="327609"/>
            <a:ext cx="8353425" cy="719137"/>
          </a:xfrm>
        </p:spPr>
        <p:txBody>
          <a:bodyPr/>
          <a:lstStyle/>
          <a:p>
            <a:r>
              <a:rPr lang="en-US" dirty="0"/>
              <a:t>Detail explanation for Function-EDB</a:t>
            </a:r>
            <a:br>
              <a:rPr lang="en-US" altLang="zh-CN" dirty="0"/>
            </a:br>
            <a:r>
              <a:rPr lang="en-US" altLang="zh-CN" sz="1400" dirty="0">
                <a:solidFill>
                  <a:schemeClr val="tx1"/>
                </a:solidFill>
              </a:rPr>
              <a:t>**</a:t>
            </a:r>
            <a:r>
              <a:rPr lang="zh-CN" altLang="en-US" sz="1400" dirty="0">
                <a:solidFill>
                  <a:schemeClr val="tx1"/>
                </a:solidFill>
              </a:rPr>
              <a:t>对前述某项功能的具体解释</a:t>
            </a:r>
            <a:br>
              <a:rPr lang="en-US" dirty="0"/>
            </a:b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29EE0A-6039-49AF-8FAB-E8017E2505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6 May 2025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F26232-DC52-488E-B242-2961D303BFA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F1B008-FE9A-4EC0-8809-8D3757FDDB1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ADBC0BAC-53B1-4DAB-AE65-1D8535A38D62}"/>
              </a:ext>
            </a:extLst>
          </p:cNvPr>
          <p:cNvSpPr/>
          <p:nvPr/>
        </p:nvSpPr>
        <p:spPr>
          <a:xfrm>
            <a:off x="371365" y="1127956"/>
            <a:ext cx="11412622" cy="5146633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en-US" sz="1600" dirty="0" err="1">
              <a:solidFill>
                <a:srgbClr val="EBEBEB">
                  <a:lumMod val="10000"/>
                </a:srgbClr>
              </a:solidFill>
              <a:latin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D4C2C6C-6E84-4A70-BDA9-922057D22618}"/>
              </a:ext>
            </a:extLst>
          </p:cNvPr>
          <p:cNvSpPr txBox="1"/>
          <p:nvPr/>
        </p:nvSpPr>
        <p:spPr>
          <a:xfrm>
            <a:off x="479376" y="1592796"/>
            <a:ext cx="11197244" cy="4450962"/>
          </a:xfrm>
          <a:prstGeom prst="rect">
            <a:avLst/>
          </a:prstGeom>
          <a:noFill/>
          <a:ln w="12700">
            <a:solidFill>
              <a:srgbClr val="FFA500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需要读取的文件路径及需要读取的关键字如下图所示，每次点击开始检测按钮以及生产一定数量的产品后自动生成一个</a:t>
            </a: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log</a:t>
            </a:r>
            <a:r>
              <a:rPr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文件，文件是以程序名及生成报告的详细时间命名的，每个文件都是独立的，关键字结果文件包括</a:t>
            </a: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SUMMARY</a:t>
            </a:r>
            <a:r>
              <a:rPr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下的</a:t>
            </a: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slip windows verified, failure windows verified, Errors detected in EDB-verification</a:t>
            </a:r>
            <a:r>
              <a:rPr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，软件监控图片库中图片数量的变化趋势并记录变化原因，自动输出汇总信息并归档；另外每天都会生成很多的报告，工程师无法逐一查看，开发这款软件也可以自动提取出报错内容；</a:t>
            </a:r>
            <a:endParaRPr lang="en-US" sz="1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en-US" sz="1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en-US" sz="1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en-US" sz="1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en-US" sz="1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en-US" sz="1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en-US" sz="1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en-US" sz="1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en-US" sz="1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en-US" sz="1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en-US" sz="1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en-US" sz="1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en-US" sz="1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en-US" sz="1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en-US" sz="1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en-US" sz="1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en-US" sz="1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4F8507F-76C4-484C-970F-39F92EBA769E}"/>
              </a:ext>
            </a:extLst>
          </p:cNvPr>
          <p:cNvSpPr/>
          <p:nvPr/>
        </p:nvSpPr>
        <p:spPr>
          <a:xfrm>
            <a:off x="479376" y="1219832"/>
            <a:ext cx="11197244" cy="382145"/>
          </a:xfrm>
          <a:prstGeom prst="rect">
            <a:avLst/>
          </a:prstGeom>
          <a:solidFill>
            <a:srgbClr val="FFA500"/>
          </a:solidFill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>
              <a:defRPr/>
            </a:pPr>
            <a:r>
              <a:rPr lang="en-US" sz="1600" b="1" dirty="0">
                <a:solidFill>
                  <a:srgbClr val="FFFFFF"/>
                </a:solidFill>
              </a:rPr>
              <a:t>Explanation of Function : </a:t>
            </a:r>
            <a:r>
              <a:rPr lang="en-US" altLang="zh-CN" sz="1600" b="1" dirty="0">
                <a:solidFill>
                  <a:srgbClr val="FFFFFF"/>
                </a:solidFill>
              </a:rPr>
              <a:t>EDB</a:t>
            </a:r>
            <a:r>
              <a:rPr lang="zh-CN" altLang="en-US" sz="1600" b="1" dirty="0">
                <a:solidFill>
                  <a:srgbClr val="FFFFFF"/>
                </a:solidFill>
              </a:rPr>
              <a:t>结果自动查询软件</a:t>
            </a:r>
            <a:endParaRPr lang="en-US" sz="1600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3F0D0536-8AE2-4F36-8920-42ED2452A7C5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4255170" y="5177115"/>
            <a:ext cx="4117759" cy="808593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513F45DD-5BF6-4AFF-974B-595D8211C10D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4331980" y="4576046"/>
            <a:ext cx="4117759" cy="563245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9BF6394A-4206-464C-BAA6-CD81706931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75899" y="5108071"/>
            <a:ext cx="2869060" cy="808593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A5BB6DB0-0754-416C-A3CD-E55950566827}"/>
              </a:ext>
            </a:extLst>
          </p:cNvPr>
          <p:cNvSpPr txBox="1"/>
          <p:nvPr/>
        </p:nvSpPr>
        <p:spPr>
          <a:xfrm>
            <a:off x="8724789" y="4836662"/>
            <a:ext cx="26642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/>
              <a:t>校准周期结果显示：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245B4D0-7908-9E06-FCEE-DF732D3AC0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75899" y="2710786"/>
            <a:ext cx="2869060" cy="2089428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2DF628A-02DD-E144-C300-48ADE3717538}"/>
              </a:ext>
            </a:extLst>
          </p:cNvPr>
          <p:cNvSpPr txBox="1"/>
          <p:nvPr/>
        </p:nvSpPr>
        <p:spPr>
          <a:xfrm>
            <a:off x="8714610" y="2464565"/>
            <a:ext cx="1279517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无效</a:t>
            </a: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log</a:t>
            </a:r>
            <a:r>
              <a:rPr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文件示例：</a:t>
            </a:r>
            <a:endParaRPr lang="en-US" sz="1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C1957AF-16A1-41F3-A917-49646CE7D3E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3737" y="2663704"/>
            <a:ext cx="3395546" cy="1912122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1D58E867-D0BE-F160-102E-E82674E35642}"/>
              </a:ext>
            </a:extLst>
          </p:cNvPr>
          <p:cNvSpPr/>
          <p:nvPr/>
        </p:nvSpPr>
        <p:spPr>
          <a:xfrm>
            <a:off x="875420" y="3101486"/>
            <a:ext cx="1656184" cy="16615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22" name="Object 21">
            <a:extLst>
              <a:ext uri="{FF2B5EF4-FFF2-40B4-BE49-F238E27FC236}">
                <a16:creationId xmlns:a16="http://schemas.microsoft.com/office/drawing/2014/main" id="{511438F5-CCF2-ED14-E85D-0640802EBC3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73252882"/>
              </p:ext>
            </p:extLst>
          </p:nvPr>
        </p:nvGraphicFramePr>
        <p:xfrm>
          <a:off x="246956" y="4988432"/>
          <a:ext cx="3267075" cy="514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ackager Shell Object" showAsIcon="1" r:id="rId7" imgW="3266853" imgH="514350" progId="Package">
                  <p:embed/>
                </p:oleObj>
              </mc:Choice>
              <mc:Fallback>
                <p:oleObj name="Packager Shell Object" showAsIcon="1" r:id="rId7" imgW="3266853" imgH="514350" progId="Package">
                  <p:embed/>
                  <p:pic>
                    <p:nvPicPr>
                      <p:cNvPr id="22" name="Object 21">
                        <a:extLst>
                          <a:ext uri="{FF2B5EF4-FFF2-40B4-BE49-F238E27FC236}">
                            <a16:creationId xmlns:a16="http://schemas.microsoft.com/office/drawing/2014/main" id="{511438F5-CCF2-ED14-E85D-0640802EBC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46956" y="4988432"/>
                        <a:ext cx="3267075" cy="5143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>
            <a:extLst>
              <a:ext uri="{FF2B5EF4-FFF2-40B4-BE49-F238E27FC236}">
                <a16:creationId xmlns:a16="http://schemas.microsoft.com/office/drawing/2014/main" id="{C0A0FF5A-13F5-1DE9-CB1E-D8D7799D0D7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86723888"/>
              </p:ext>
            </p:extLst>
          </p:nvPr>
        </p:nvGraphicFramePr>
        <p:xfrm>
          <a:off x="308869" y="5472869"/>
          <a:ext cx="3143250" cy="514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ackager Shell Object" showAsIcon="1" r:id="rId9" imgW="3143516" imgH="514350" progId="Package">
                  <p:embed/>
                </p:oleObj>
              </mc:Choice>
              <mc:Fallback>
                <p:oleObj name="Packager Shell Object" showAsIcon="1" r:id="rId9" imgW="3143516" imgH="514350" progId="Package">
                  <p:embed/>
                  <p:pic>
                    <p:nvPicPr>
                      <p:cNvPr id="23" name="Object 22">
                        <a:extLst>
                          <a:ext uri="{FF2B5EF4-FFF2-40B4-BE49-F238E27FC236}">
                            <a16:creationId xmlns:a16="http://schemas.microsoft.com/office/drawing/2014/main" id="{C0A0FF5A-13F5-1DE9-CB1E-D8D7799D0D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08869" y="5472869"/>
                        <a:ext cx="3143250" cy="5143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9284F6D5-3031-2389-DDA3-1C0017ACA313}"/>
              </a:ext>
            </a:extLst>
          </p:cNvPr>
          <p:cNvSpPr txBox="1"/>
          <p:nvPr/>
        </p:nvSpPr>
        <p:spPr>
          <a:xfrm>
            <a:off x="547705" y="4772124"/>
            <a:ext cx="1082348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有效文档示例：</a:t>
            </a:r>
            <a:endParaRPr lang="en-US" sz="1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5FE80876-4BE4-A2CD-E5ED-5CE0D8BF43A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329771" y="2667819"/>
            <a:ext cx="3395545" cy="1678874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54C89AE3-5ED7-659C-1C23-C374EE82771E}"/>
              </a:ext>
            </a:extLst>
          </p:cNvPr>
          <p:cNvSpPr txBox="1"/>
          <p:nvPr/>
        </p:nvSpPr>
        <p:spPr>
          <a:xfrm>
            <a:off x="543737" y="2370454"/>
            <a:ext cx="1055097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Log</a:t>
            </a:r>
            <a:r>
              <a:rPr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文档路径：</a:t>
            </a:r>
            <a:endParaRPr lang="en-US" sz="1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2D7EAE3-DB3E-391D-1210-0D778C19D223}"/>
              </a:ext>
            </a:extLst>
          </p:cNvPr>
          <p:cNvSpPr txBox="1"/>
          <p:nvPr/>
        </p:nvSpPr>
        <p:spPr>
          <a:xfrm>
            <a:off x="4255170" y="2383774"/>
            <a:ext cx="1055097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有效</a:t>
            </a: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Log</a:t>
            </a:r>
            <a:r>
              <a:rPr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格式：</a:t>
            </a:r>
            <a:endParaRPr lang="en-US" sz="1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6762369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800F37A0-C3F9-4C6B-9935-B35987C43E1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06718121"/>
              </p:ext>
            </p:extLst>
          </p:nvPr>
        </p:nvGraphicFramePr>
        <p:xfrm>
          <a:off x="534047" y="1369990"/>
          <a:ext cx="11149570" cy="46024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021">
                  <a:extLst>
                    <a:ext uri="{9D8B030D-6E8A-4147-A177-3AD203B41FA5}">
                      <a16:colId xmlns:a16="http://schemas.microsoft.com/office/drawing/2014/main" val="897700599"/>
                    </a:ext>
                  </a:extLst>
                </a:gridCol>
                <a:gridCol w="1629572">
                  <a:extLst>
                    <a:ext uri="{9D8B030D-6E8A-4147-A177-3AD203B41FA5}">
                      <a16:colId xmlns:a16="http://schemas.microsoft.com/office/drawing/2014/main" val="3131663599"/>
                    </a:ext>
                  </a:extLst>
                </a:gridCol>
                <a:gridCol w="4716524">
                  <a:extLst>
                    <a:ext uri="{9D8B030D-6E8A-4147-A177-3AD203B41FA5}">
                      <a16:colId xmlns:a16="http://schemas.microsoft.com/office/drawing/2014/main" val="2243242798"/>
                    </a:ext>
                  </a:extLst>
                </a:gridCol>
                <a:gridCol w="972108">
                  <a:extLst>
                    <a:ext uri="{9D8B030D-6E8A-4147-A177-3AD203B41FA5}">
                      <a16:colId xmlns:a16="http://schemas.microsoft.com/office/drawing/2014/main" val="4239957259"/>
                    </a:ext>
                  </a:extLst>
                </a:gridCol>
                <a:gridCol w="684076">
                  <a:extLst>
                    <a:ext uri="{9D8B030D-6E8A-4147-A177-3AD203B41FA5}">
                      <a16:colId xmlns:a16="http://schemas.microsoft.com/office/drawing/2014/main" val="2250371060"/>
                    </a:ext>
                  </a:extLst>
                </a:gridCol>
                <a:gridCol w="2455269">
                  <a:extLst>
                    <a:ext uri="{9D8B030D-6E8A-4147-A177-3AD203B41FA5}">
                      <a16:colId xmlns:a16="http://schemas.microsoft.com/office/drawing/2014/main" val="632989356"/>
                    </a:ext>
                  </a:extLst>
                </a:gridCol>
              </a:tblGrid>
              <a:tr h="20663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US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US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evious Function</a:t>
                      </a:r>
                      <a:r>
                        <a:rPr lang="en-US" altLang="zh-CN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zh-CN" altLang="en-US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前置功能</a:t>
                      </a:r>
                      <a:r>
                        <a:rPr lang="en-US" altLang="zh-CN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en-US" sz="1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Prior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remar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5731271"/>
                  </a:ext>
                </a:extLst>
              </a:tr>
              <a:tr h="103832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/>
                        <a:t>读取并对比关键字段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读取相同程序在相邻时间点的有效</a:t>
                      </a:r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g</a:t>
                      </a:r>
                      <a:r>
                        <a:rPr lang="zh-CN" alt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中的关键参数，如</a:t>
                      </a:r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ood windows verified/slip windows verified/failure windows verified/error windows verified</a:t>
                      </a:r>
                      <a:r>
                        <a:rPr lang="zh-CN" alt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的数量，并进行比对</a:t>
                      </a:r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ood windows verified</a:t>
                      </a:r>
                      <a:r>
                        <a:rPr lang="zh-CN" alt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的数量，如果最新时间点</a:t>
                      </a:r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g</a:t>
                      </a:r>
                      <a:r>
                        <a:rPr lang="zh-CN" alt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中的</a:t>
                      </a:r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ood windows</a:t>
                      </a:r>
                      <a:r>
                        <a:rPr lang="zh-CN" alt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数量变少，需要弹框报警，工艺人员需要输入数量减少的原因，并录入维护该信息人员信息，根据输入的信息自动输出日志并归档保存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/>
                        <a:t>无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/>
                        <a:t>1. </a:t>
                      </a:r>
                      <a:r>
                        <a:rPr lang="zh-CN" altLang="en-US" sz="1200" dirty="0"/>
                        <a:t>需要定义监控周期：</a:t>
                      </a:r>
                      <a:endParaRPr lang="en-US" altLang="zh-CN" sz="1200" dirty="0"/>
                    </a:p>
                    <a:p>
                      <a:pPr algn="l"/>
                      <a:r>
                        <a:rPr lang="zh-CN" altLang="en-US" sz="1200" dirty="0"/>
                        <a:t>每次生成文件都做对比还是按照一定时间间隔做对比</a:t>
                      </a:r>
                      <a:endParaRPr lang="en-US" altLang="zh-CN" sz="1200" dirty="0"/>
                    </a:p>
                    <a:p>
                      <a:pPr algn="l"/>
                      <a:r>
                        <a:rPr lang="en-US" sz="1200" dirty="0"/>
                        <a:t>2. </a:t>
                      </a:r>
                      <a:r>
                        <a:rPr lang="zh-CN" altLang="en-US" sz="1200" dirty="0"/>
                        <a:t>需要清理目前</a:t>
                      </a:r>
                      <a:r>
                        <a:rPr lang="en-US" altLang="zh-CN" sz="1200" dirty="0"/>
                        <a:t>EDB</a:t>
                      </a:r>
                      <a:r>
                        <a:rPr lang="zh-CN" altLang="en-US" sz="1200" dirty="0"/>
                        <a:t>中的图片，如</a:t>
                      </a:r>
                      <a:r>
                        <a:rPr lang="en-US" altLang="zh-CN" sz="1200" dirty="0"/>
                        <a:t>IC</a:t>
                      </a:r>
                      <a:r>
                        <a:rPr lang="zh-CN" altLang="en-US" sz="1200" dirty="0"/>
                        <a:t>元件图片中的大量好图片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2521716"/>
                  </a:ext>
                </a:extLst>
              </a:tr>
              <a:tr h="59996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Good Windows</a:t>
                      </a:r>
                      <a:r>
                        <a:rPr lang="zh-CN" altLang="en-US" sz="1200" dirty="0"/>
                        <a:t>统计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200" dirty="0">
                          <a:highlight>
                            <a:srgbClr val="00FF00"/>
                          </a:highlight>
                        </a:rPr>
                        <a:t>自动读取出</a:t>
                      </a:r>
                      <a:r>
                        <a:rPr lang="en-US" altLang="zh-CN" sz="1200" dirty="0">
                          <a:highlight>
                            <a:srgbClr val="00FF00"/>
                          </a:highlight>
                        </a:rPr>
                        <a:t>good Windows</a:t>
                      </a:r>
                      <a:r>
                        <a:rPr lang="zh-CN" altLang="en-US" sz="1200" dirty="0">
                          <a:highlight>
                            <a:srgbClr val="00FF00"/>
                          </a:highlight>
                        </a:rPr>
                        <a:t>的数量小于</a:t>
                      </a:r>
                      <a:r>
                        <a:rPr lang="en-US" altLang="zh-CN" sz="1200" dirty="0">
                          <a:highlight>
                            <a:srgbClr val="00FF00"/>
                          </a:highlight>
                        </a:rPr>
                        <a:t>5</a:t>
                      </a:r>
                      <a:r>
                        <a:rPr lang="zh-CN" altLang="en-US" sz="1200" dirty="0">
                          <a:highlight>
                            <a:srgbClr val="00FF00"/>
                          </a:highlight>
                        </a:rPr>
                        <a:t>的封装及算法</a:t>
                      </a:r>
                      <a:endParaRPr lang="en-US" sz="1200" dirty="0">
                        <a:highlight>
                          <a:srgbClr val="00FF00"/>
                        </a:highlight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/>
                        <a:t>无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zh-CN" alt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图片总数大于</a:t>
                      </a:r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8203543"/>
                  </a:ext>
                </a:extLst>
              </a:tr>
              <a:tr h="674635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Error</a:t>
                      </a:r>
                      <a:r>
                        <a:rPr lang="zh-CN" altLang="en-US" sz="1200" dirty="0"/>
                        <a:t>算法统计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zh-CN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自动读取出显示为</a:t>
                      </a:r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rror</a:t>
                      </a:r>
                      <a:r>
                        <a:rPr lang="zh-CN" altLang="zh-CN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的封装及其算法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/>
                        <a:t>无</a:t>
                      </a:r>
                      <a:endParaRPr lang="en-US" altLang="zh-CN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/>
                        <a:t>是否需要监控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4668190"/>
                  </a:ext>
                </a:extLst>
              </a:tr>
              <a:tr h="674635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Failure</a:t>
                      </a:r>
                      <a:r>
                        <a:rPr lang="zh-CN" altLang="en-US" sz="1200" dirty="0"/>
                        <a:t>算法统计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zh-CN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自动读取出显示为</a:t>
                      </a:r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ilure</a:t>
                      </a:r>
                      <a:r>
                        <a:rPr lang="zh-CN" altLang="zh-CN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的封装及其算法</a:t>
                      </a:r>
                      <a:endParaRPr lang="en-US" altLang="zh-CN" sz="1200" dirty="0"/>
                    </a:p>
                    <a:p>
                      <a:pPr algn="l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/>
                        <a:t>无</a:t>
                      </a:r>
                      <a:endParaRPr lang="en-US" altLang="zh-CN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/>
                        <a:t>是否需要监控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0781050"/>
                  </a:ext>
                </a:extLst>
              </a:tr>
              <a:tr h="37479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/>
                        <a:t>校准周期监控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200" dirty="0"/>
                        <a:t>自动读取是否超期（</a:t>
                      </a:r>
                      <a:r>
                        <a:rPr lang="zh-CN" altLang="en-US" sz="1200" dirty="0">
                          <a:highlight>
                            <a:srgbClr val="00FF00"/>
                          </a:highlight>
                        </a:rPr>
                        <a:t>超期前一周开始发邮件提醒</a:t>
                      </a:r>
                      <a:r>
                        <a:rPr lang="zh-CN" altLang="en-US" sz="1200" dirty="0"/>
                        <a:t>）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/>
                        <a:t>无</a:t>
                      </a:r>
                      <a:endParaRPr lang="en-US" altLang="zh-CN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/>
                        <a:t>是否需要增加此项扩展功能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18335694"/>
                  </a:ext>
                </a:extLst>
              </a:tr>
              <a:tr h="495352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/>
                        <a:t>输出结果日志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zh-CN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整理输出文档日志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/>
                        <a:t>无</a:t>
                      </a:r>
                      <a:endParaRPr lang="en-US" altLang="zh-CN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归档方式是通过网页查询或者其它方式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569254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AE07359E-B752-4B6D-8A43-C87785E949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 list-EDB</a:t>
            </a:r>
            <a:br>
              <a:rPr lang="en-US" altLang="zh-CN" dirty="0"/>
            </a:br>
            <a:r>
              <a:rPr lang="en-US" altLang="zh-CN" sz="1400" dirty="0">
                <a:solidFill>
                  <a:schemeClr val="tx1"/>
                </a:solidFill>
              </a:rPr>
              <a:t>**</a:t>
            </a:r>
            <a:r>
              <a:rPr lang="zh-CN" altLang="en-US" sz="1400" dirty="0">
                <a:solidFill>
                  <a:schemeClr val="tx1"/>
                </a:solidFill>
              </a:rPr>
              <a:t>该软件的功能列表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9A4631-8177-4495-9EF0-4FA0066953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January 1st, 20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C1B952-24BC-475A-AC2C-F729D118C7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7223CF-40A9-47C3-A766-10A0E2EA9C0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114909329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>
            <a:extLst>
              <a:ext uri="{FF2B5EF4-FFF2-40B4-BE49-F238E27FC236}">
                <a16:creationId xmlns:a16="http://schemas.microsoft.com/office/drawing/2014/main" id="{73948678-01F0-409E-AB4B-554B076F03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285160"/>
            <a:ext cx="11137900" cy="719137"/>
          </a:xfrm>
        </p:spPr>
        <p:txBody>
          <a:bodyPr/>
          <a:lstStyle/>
          <a:p>
            <a:r>
              <a:rPr lang="en-US" altLang="zh-CN" sz="1800" dirty="0"/>
              <a:t>EDB monitoring software</a:t>
            </a:r>
            <a:endParaRPr lang="zh-CN" altLang="en-US" sz="1800" dirty="0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5B63FC4-5B27-441F-BA08-F6B3AEBE8A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7 May 2025</a:t>
            </a:fld>
            <a:endParaRPr lang="en-US" noProof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7F5B8266-9EF9-4AE5-84EE-96498DDDEED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D43D9733-4268-4FB2-B1BE-FCB334C60B5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02FF6EB-F4C1-4558-80DC-E542830724EF}"/>
              </a:ext>
            </a:extLst>
          </p:cNvPr>
          <p:cNvSpPr/>
          <p:nvPr/>
        </p:nvSpPr>
        <p:spPr>
          <a:xfrm>
            <a:off x="1192952" y="976963"/>
            <a:ext cx="3902826" cy="37672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schemeClr val="bg2">
                    <a:lumMod val="10000"/>
                  </a:schemeClr>
                </a:solidFill>
              </a:rPr>
              <a:t>监控路径中有文件生成</a:t>
            </a:r>
            <a:r>
              <a:rPr lang="en-US" altLang="zh-CN" sz="1100" dirty="0">
                <a:solidFill>
                  <a:schemeClr val="bg2">
                    <a:lumMod val="10000"/>
                  </a:schemeClr>
                </a:solidFill>
              </a:rPr>
              <a:t>(</a:t>
            </a:r>
            <a:r>
              <a:rPr lang="zh-CN" altLang="en-US" sz="1100" dirty="0">
                <a:solidFill>
                  <a:schemeClr val="bg2">
                    <a:lumMod val="10000"/>
                  </a:schemeClr>
                </a:solidFill>
                <a:highlight>
                  <a:srgbClr val="FFFF00"/>
                </a:highlight>
              </a:rPr>
              <a:t>以半成品号为单位</a:t>
            </a:r>
            <a:r>
              <a:rPr lang="en-US" altLang="zh-CN" sz="1100" dirty="0">
                <a:solidFill>
                  <a:schemeClr val="bg2">
                    <a:lumMod val="10000"/>
                  </a:schemeClr>
                </a:solidFill>
              </a:rPr>
              <a:t>)</a:t>
            </a:r>
            <a:endParaRPr lang="zh-CN" altLang="en-US" sz="11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4D098104-96E6-4F43-BFE8-598E833DB2B6}"/>
              </a:ext>
            </a:extLst>
          </p:cNvPr>
          <p:cNvSpPr/>
          <p:nvPr/>
        </p:nvSpPr>
        <p:spPr>
          <a:xfrm>
            <a:off x="7593248" y="3479504"/>
            <a:ext cx="3132348" cy="29228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schemeClr val="bg2">
                    <a:lumMod val="10000"/>
                  </a:schemeClr>
                </a:solidFill>
                <a:highlight>
                  <a:srgbClr val="00FF00"/>
                </a:highlight>
              </a:rPr>
              <a:t>弹窗报警，工艺人员登录账号并输入变更原因</a:t>
            </a:r>
          </a:p>
        </p:txBody>
      </p:sp>
      <p:sp>
        <p:nvSpPr>
          <p:cNvPr id="8" name="菱形 7">
            <a:extLst>
              <a:ext uri="{FF2B5EF4-FFF2-40B4-BE49-F238E27FC236}">
                <a16:creationId xmlns:a16="http://schemas.microsoft.com/office/drawing/2014/main" id="{F1BD1517-AEDF-4F67-99EA-CF889F22E0A8}"/>
              </a:ext>
            </a:extLst>
          </p:cNvPr>
          <p:cNvSpPr/>
          <p:nvPr/>
        </p:nvSpPr>
        <p:spPr>
          <a:xfrm>
            <a:off x="2097038" y="2099506"/>
            <a:ext cx="2094654" cy="711359"/>
          </a:xfrm>
          <a:prstGeom prst="diamond">
            <a:avLst/>
          </a:prstGeom>
          <a:noFill/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查找关键字</a:t>
            </a:r>
          </a:p>
        </p:txBody>
      </p:sp>
      <p:cxnSp>
        <p:nvCxnSpPr>
          <p:cNvPr id="10" name="直接箭头连接符 9">
            <a:extLst>
              <a:ext uri="{FF2B5EF4-FFF2-40B4-BE49-F238E27FC236}">
                <a16:creationId xmlns:a16="http://schemas.microsoft.com/office/drawing/2014/main" id="{12017DBA-3006-49D6-8EAD-66843CDF7F04}"/>
              </a:ext>
            </a:extLst>
          </p:cNvPr>
          <p:cNvCxnSpPr>
            <a:cxnSpLocks/>
          </p:cNvCxnSpPr>
          <p:nvPr/>
        </p:nvCxnSpPr>
        <p:spPr>
          <a:xfrm>
            <a:off x="4259169" y="3625647"/>
            <a:ext cx="489762" cy="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文本框 13">
            <a:extLst>
              <a:ext uri="{FF2B5EF4-FFF2-40B4-BE49-F238E27FC236}">
                <a16:creationId xmlns:a16="http://schemas.microsoft.com/office/drawing/2014/main" id="{E069E25A-BEF6-4C19-B694-5E95833F4E4B}"/>
              </a:ext>
            </a:extLst>
          </p:cNvPr>
          <p:cNvSpPr txBox="1"/>
          <p:nvPr/>
        </p:nvSpPr>
        <p:spPr>
          <a:xfrm>
            <a:off x="4245934" y="3163262"/>
            <a:ext cx="533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Yes</a:t>
            </a:r>
            <a:endParaRPr lang="zh-CN" altLang="en-US" sz="1200" dirty="0"/>
          </a:p>
        </p:txBody>
      </p:sp>
      <p:cxnSp>
        <p:nvCxnSpPr>
          <p:cNvPr id="19" name="直接箭头连接符 18">
            <a:extLst>
              <a:ext uri="{FF2B5EF4-FFF2-40B4-BE49-F238E27FC236}">
                <a16:creationId xmlns:a16="http://schemas.microsoft.com/office/drawing/2014/main" id="{6F16962B-75AC-4580-9115-99C6A1962CDA}"/>
              </a:ext>
            </a:extLst>
          </p:cNvPr>
          <p:cNvCxnSpPr>
            <a:cxnSpLocks/>
            <a:stCxn id="65" idx="2"/>
            <a:endCxn id="57" idx="0"/>
          </p:cNvCxnSpPr>
          <p:nvPr/>
        </p:nvCxnSpPr>
        <p:spPr>
          <a:xfrm>
            <a:off x="3149013" y="4270848"/>
            <a:ext cx="0" cy="349589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文本框 19">
            <a:extLst>
              <a:ext uri="{FF2B5EF4-FFF2-40B4-BE49-F238E27FC236}">
                <a16:creationId xmlns:a16="http://schemas.microsoft.com/office/drawing/2014/main" id="{4E07DB2E-2709-4643-81F3-FF5BA131FA41}"/>
              </a:ext>
            </a:extLst>
          </p:cNvPr>
          <p:cNvSpPr txBox="1"/>
          <p:nvPr/>
        </p:nvSpPr>
        <p:spPr>
          <a:xfrm rot="16200000">
            <a:off x="3314746" y="4129271"/>
            <a:ext cx="369332" cy="457200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sz="1200" dirty="0"/>
              <a:t>No</a:t>
            </a:r>
            <a:endParaRPr lang="zh-CN" altLang="en-US" sz="1200" dirty="0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6187770D-9039-4604-9A13-E80F42AD1144}"/>
              </a:ext>
            </a:extLst>
          </p:cNvPr>
          <p:cNvSpPr/>
          <p:nvPr/>
        </p:nvSpPr>
        <p:spPr>
          <a:xfrm>
            <a:off x="7593247" y="4618785"/>
            <a:ext cx="3132348" cy="29228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schemeClr val="bg2">
                    <a:lumMod val="10000"/>
                  </a:schemeClr>
                </a:solidFill>
              </a:rPr>
              <a:t>生成日志或者更新到数据库中</a:t>
            </a:r>
          </a:p>
        </p:txBody>
      </p:sp>
      <p:cxnSp>
        <p:nvCxnSpPr>
          <p:cNvPr id="34" name="直接箭头连接符 33">
            <a:extLst>
              <a:ext uri="{FF2B5EF4-FFF2-40B4-BE49-F238E27FC236}">
                <a16:creationId xmlns:a16="http://schemas.microsoft.com/office/drawing/2014/main" id="{DF8CE15C-338A-4713-B280-94FA146CA19A}"/>
              </a:ext>
            </a:extLst>
          </p:cNvPr>
          <p:cNvCxnSpPr>
            <a:cxnSpLocks/>
            <a:stCxn id="17" idx="2"/>
            <a:endCxn id="28" idx="0"/>
          </p:cNvCxnSpPr>
          <p:nvPr/>
        </p:nvCxnSpPr>
        <p:spPr>
          <a:xfrm flipH="1">
            <a:off x="9159421" y="3771790"/>
            <a:ext cx="1" cy="846995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箭头连接符 38">
            <a:extLst>
              <a:ext uri="{FF2B5EF4-FFF2-40B4-BE49-F238E27FC236}">
                <a16:creationId xmlns:a16="http://schemas.microsoft.com/office/drawing/2014/main" id="{1C736A68-8D23-4D14-B1C2-DC895E8C76E6}"/>
              </a:ext>
            </a:extLst>
          </p:cNvPr>
          <p:cNvCxnSpPr>
            <a:cxnSpLocks/>
            <a:stCxn id="8" idx="2"/>
            <a:endCxn id="65" idx="0"/>
          </p:cNvCxnSpPr>
          <p:nvPr/>
        </p:nvCxnSpPr>
        <p:spPr>
          <a:xfrm>
            <a:off x="3144365" y="2810865"/>
            <a:ext cx="4648" cy="169583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接箭头连接符 50">
            <a:extLst>
              <a:ext uri="{FF2B5EF4-FFF2-40B4-BE49-F238E27FC236}">
                <a16:creationId xmlns:a16="http://schemas.microsoft.com/office/drawing/2014/main" id="{1C736A68-8D23-4D14-B1C2-DC895E8C76E6}"/>
              </a:ext>
            </a:extLst>
          </p:cNvPr>
          <p:cNvCxnSpPr>
            <a:cxnSpLocks/>
            <a:stCxn id="24" idx="2"/>
            <a:endCxn id="8" idx="0"/>
          </p:cNvCxnSpPr>
          <p:nvPr/>
        </p:nvCxnSpPr>
        <p:spPr>
          <a:xfrm flipH="1">
            <a:off x="3144365" y="1894515"/>
            <a:ext cx="160" cy="204991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>
            <a:extLst>
              <a:ext uri="{FF2B5EF4-FFF2-40B4-BE49-F238E27FC236}">
                <a16:creationId xmlns:a16="http://schemas.microsoft.com/office/drawing/2014/main" id="{5B145442-F742-46AF-B148-9B64755AABD0}"/>
              </a:ext>
            </a:extLst>
          </p:cNvPr>
          <p:cNvSpPr/>
          <p:nvPr/>
        </p:nvSpPr>
        <p:spPr>
          <a:xfrm>
            <a:off x="1752658" y="4620437"/>
            <a:ext cx="2792710" cy="290633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数据库状态更新为已完成并记录完成日期</a:t>
            </a: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B85BD5D9-58FE-43D2-8872-D343E9D3AD33}"/>
              </a:ext>
            </a:extLst>
          </p:cNvPr>
          <p:cNvSpPr/>
          <p:nvPr/>
        </p:nvSpPr>
        <p:spPr>
          <a:xfrm>
            <a:off x="1748170" y="1601678"/>
            <a:ext cx="2792710" cy="29283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zh-CN" altLang="en-US" sz="1100" dirty="0"/>
              <a:t>查询上次生成的相同文件名的有效文件</a:t>
            </a:r>
          </a:p>
        </p:txBody>
      </p:sp>
      <p:sp>
        <p:nvSpPr>
          <p:cNvPr id="65" name="菱形 64">
            <a:extLst>
              <a:ext uri="{FF2B5EF4-FFF2-40B4-BE49-F238E27FC236}">
                <a16:creationId xmlns:a16="http://schemas.microsoft.com/office/drawing/2014/main" id="{2E3A79F2-89FA-45F4-8CDA-7D3DE1C1D468}"/>
              </a:ext>
            </a:extLst>
          </p:cNvPr>
          <p:cNvSpPr/>
          <p:nvPr/>
        </p:nvSpPr>
        <p:spPr>
          <a:xfrm>
            <a:off x="2101686" y="2980447"/>
            <a:ext cx="2094654" cy="1290400"/>
          </a:xfrm>
          <a:prstGeom prst="diamond">
            <a:avLst/>
          </a:prstGeom>
          <a:noFill/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zh-CN" altLang="en-US" sz="900" dirty="0"/>
              <a:t>开始比对</a:t>
            </a:r>
            <a:r>
              <a:rPr lang="en-US" altLang="zh-CN" sz="900" dirty="0">
                <a:highlight>
                  <a:srgbClr val="00FF00"/>
                </a:highlight>
              </a:rPr>
              <a:t>good Windows</a:t>
            </a:r>
            <a:r>
              <a:rPr lang="zh-CN" altLang="en-US" sz="900" dirty="0">
                <a:highlight>
                  <a:srgbClr val="00FF00"/>
                </a:highlight>
              </a:rPr>
              <a:t>数量是否有变化</a:t>
            </a:r>
            <a:endParaRPr lang="zh-CN" altLang="en-US" sz="900" dirty="0"/>
          </a:p>
        </p:txBody>
      </p:sp>
      <p:cxnSp>
        <p:nvCxnSpPr>
          <p:cNvPr id="88" name="直接箭头连接符 87">
            <a:extLst>
              <a:ext uri="{FF2B5EF4-FFF2-40B4-BE49-F238E27FC236}">
                <a16:creationId xmlns:a16="http://schemas.microsoft.com/office/drawing/2014/main" id="{A0948499-0895-42C1-8A36-18202AEF2BD0}"/>
              </a:ext>
            </a:extLst>
          </p:cNvPr>
          <p:cNvCxnSpPr>
            <a:cxnSpLocks/>
            <a:stCxn id="7" idx="2"/>
            <a:endCxn id="24" idx="0"/>
          </p:cNvCxnSpPr>
          <p:nvPr/>
        </p:nvCxnSpPr>
        <p:spPr>
          <a:xfrm>
            <a:off x="3144365" y="1353690"/>
            <a:ext cx="160" cy="247988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箭头连接符 24">
            <a:extLst>
              <a:ext uri="{FF2B5EF4-FFF2-40B4-BE49-F238E27FC236}">
                <a16:creationId xmlns:a16="http://schemas.microsoft.com/office/drawing/2014/main" id="{991E4A05-6680-4ECC-9B97-241C14D61E73}"/>
              </a:ext>
            </a:extLst>
          </p:cNvPr>
          <p:cNvCxnSpPr>
            <a:cxnSpLocks/>
            <a:stCxn id="57" idx="2"/>
            <a:endCxn id="29" idx="0"/>
          </p:cNvCxnSpPr>
          <p:nvPr/>
        </p:nvCxnSpPr>
        <p:spPr>
          <a:xfrm>
            <a:off x="3149014" y="4911070"/>
            <a:ext cx="1855" cy="366207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矩形 28">
            <a:extLst>
              <a:ext uri="{FF2B5EF4-FFF2-40B4-BE49-F238E27FC236}">
                <a16:creationId xmlns:a16="http://schemas.microsoft.com/office/drawing/2014/main" id="{E341F9F0-F475-4C7F-9AF4-48A8698FD0CE}"/>
              </a:ext>
            </a:extLst>
          </p:cNvPr>
          <p:cNvSpPr/>
          <p:nvPr/>
        </p:nvSpPr>
        <p:spPr>
          <a:xfrm>
            <a:off x="1742726" y="5277276"/>
            <a:ext cx="2816285" cy="30990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schemeClr val="bg2">
                    <a:lumMod val="10000"/>
                  </a:schemeClr>
                </a:solidFill>
                <a:highlight>
                  <a:srgbClr val="FFFF00"/>
                </a:highlight>
              </a:rPr>
              <a:t>设备开始检测</a:t>
            </a:r>
          </a:p>
        </p:txBody>
      </p: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DB0C0E96-921D-B61A-3A59-FB6E9AF9361C}"/>
              </a:ext>
            </a:extLst>
          </p:cNvPr>
          <p:cNvCxnSpPr>
            <a:cxnSpLocks/>
            <a:stCxn id="28" idx="2"/>
            <a:endCxn id="29" idx="3"/>
          </p:cNvCxnSpPr>
          <p:nvPr/>
        </p:nvCxnSpPr>
        <p:spPr>
          <a:xfrm rot="5400000">
            <a:off x="6598636" y="2871445"/>
            <a:ext cx="521160" cy="4600410"/>
          </a:xfrm>
          <a:prstGeom prst="bentConnector2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菱形 64">
            <a:extLst>
              <a:ext uri="{FF2B5EF4-FFF2-40B4-BE49-F238E27FC236}">
                <a16:creationId xmlns:a16="http://schemas.microsoft.com/office/drawing/2014/main" id="{550939BA-1738-D6CB-4682-5F4C5AACC075}"/>
              </a:ext>
            </a:extLst>
          </p:cNvPr>
          <p:cNvSpPr/>
          <p:nvPr/>
        </p:nvSpPr>
        <p:spPr>
          <a:xfrm>
            <a:off x="4756155" y="2980448"/>
            <a:ext cx="2094654" cy="1290400"/>
          </a:xfrm>
          <a:prstGeom prst="diamond">
            <a:avLst/>
          </a:prstGeom>
          <a:noFill/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zh-CN" altLang="en-US" sz="900" dirty="0"/>
              <a:t>查找到具体的变换点，并在数据库中的记录进行比对是否之前有过相同的变化记录</a:t>
            </a:r>
          </a:p>
        </p:txBody>
      </p:sp>
      <p:cxnSp>
        <p:nvCxnSpPr>
          <p:cNvPr id="46" name="直接箭头连接符 9">
            <a:extLst>
              <a:ext uri="{FF2B5EF4-FFF2-40B4-BE49-F238E27FC236}">
                <a16:creationId xmlns:a16="http://schemas.microsoft.com/office/drawing/2014/main" id="{D0AD3A13-A08E-EE30-77E6-304E73822BA2}"/>
              </a:ext>
            </a:extLst>
          </p:cNvPr>
          <p:cNvCxnSpPr>
            <a:cxnSpLocks/>
          </p:cNvCxnSpPr>
          <p:nvPr/>
        </p:nvCxnSpPr>
        <p:spPr>
          <a:xfrm>
            <a:off x="6924092" y="3625647"/>
            <a:ext cx="489762" cy="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文本框 13">
            <a:extLst>
              <a:ext uri="{FF2B5EF4-FFF2-40B4-BE49-F238E27FC236}">
                <a16:creationId xmlns:a16="http://schemas.microsoft.com/office/drawing/2014/main" id="{F018FA59-1137-9308-52C0-680D1F190E83}"/>
              </a:ext>
            </a:extLst>
          </p:cNvPr>
          <p:cNvSpPr txBox="1"/>
          <p:nvPr/>
        </p:nvSpPr>
        <p:spPr>
          <a:xfrm>
            <a:off x="6924092" y="3202505"/>
            <a:ext cx="533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No</a:t>
            </a:r>
            <a:endParaRPr lang="zh-CN" altLang="en-US" sz="1200" dirty="0"/>
          </a:p>
        </p:txBody>
      </p:sp>
      <p:sp>
        <p:nvSpPr>
          <p:cNvPr id="48" name="文本框 13">
            <a:extLst>
              <a:ext uri="{FF2B5EF4-FFF2-40B4-BE49-F238E27FC236}">
                <a16:creationId xmlns:a16="http://schemas.microsoft.com/office/drawing/2014/main" id="{70EBA7FF-BB60-5A11-ED24-E8778BE10A66}"/>
              </a:ext>
            </a:extLst>
          </p:cNvPr>
          <p:cNvSpPr txBox="1"/>
          <p:nvPr/>
        </p:nvSpPr>
        <p:spPr>
          <a:xfrm>
            <a:off x="6022608" y="4219371"/>
            <a:ext cx="533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Yes</a:t>
            </a:r>
            <a:endParaRPr lang="zh-CN" altLang="en-US" sz="1200" dirty="0"/>
          </a:p>
        </p:txBody>
      </p: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114200F1-B991-F481-F2E3-D685C9A2B63B}"/>
              </a:ext>
            </a:extLst>
          </p:cNvPr>
          <p:cNvCxnSpPr>
            <a:cxnSpLocks/>
            <a:stCxn id="32" idx="2"/>
            <a:endCxn id="57" idx="3"/>
          </p:cNvCxnSpPr>
          <p:nvPr/>
        </p:nvCxnSpPr>
        <p:spPr>
          <a:xfrm rot="5400000">
            <a:off x="4926972" y="3889244"/>
            <a:ext cx="494906" cy="1258114"/>
          </a:xfrm>
          <a:prstGeom prst="bentConnector2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419438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UNDO_REDO_REVISION" val="0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wMBAQEBAQEBAQEBAQEBAQIAAAAAAAAAAwAAAAMAAAAA/////wQA0wsAAAAAAAAAAAAAIAD///////////////8AAAD///////////////8DAAAAAgD///////8DAAAAAgD///////8DAAAAAgD///////8DAAAAAgD///////8DAAAAAgD///////8DAAAAAg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LAP///////wQAAAACABAAC+OZMivCpvdPiM/sKBaFslUFAAAAAAADAAAAAAADAAAAAwADAAAAAAD///////8DAAAAAAD///////8DAAAAAAD///////8DAAAAAAD///////8DAAAAAAD///////8DAAAAAAD///////8DAAAAAAD///////8DAAAAAAD///////8DAAAAAAD///////8DAAAAAAD///////8DAAEA////////BAAAAAMAEAALJ791aQfSmEmWsI2G/t5Z8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aAAZMaW5rZWRTaGFwZXNEYXRhUHJvcGVydHlfMAUAAAAAAAQAAAADAAQAAAABAAQAAAAAAP///////w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OOZMivCpvdPiM/sKBaFslUDRGF0YQAbAAAABExpbmtlZFNoYXBlRGF0YQAFAAAAAAACTmFtZQAZAAAATGlua2VkU2hhcGVzRGF0YVByb3BlcnR5ABBWZXJzaW9uAAAAAAAJTGFzdFdyaXRlANFb6Ph3AQAAAAEA/////50AnQAAAAVfaWQAEAAAAAQnv3VpB9KYSZawjYb+3lnwA0RhdGEAKgAAAAhQcmVzZW50YXRpb25TY2FubmVkRm9yTGlua2VkU2hhcGVzAAEAAk5hbWUAJAAAAExpbmtlZFNoYXBlUHJlc2VudGF0aW9uU2V0dGluZ3NEYXRhABBWZXJzaW9uAAAAAAAJTGFzdFdyaXRlAPxb6Ph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PRESI_FIRST_SLIDENUMBER" val="1"/>
  <p:tag name="MIO_FALLBACK_LAYOUT" val="15"/>
  <p:tag name="MIO_SHOW_DATE" val="True"/>
  <p:tag name="MIO_SHOW_FOOTER" val="True"/>
  <p:tag name="MIO_SHOW_PAGENUMBER" val="True"/>
  <p:tag name="MIO_AVOID_BLANK_LAYOUT" val="False"/>
  <p:tag name="MIO_NUMBER_OF_VALID_LAYOUTS" val="20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10308"/>
  <p:tag name="MIO_UPDATE" val="True"/>
  <p:tag name="MIO_VERSION" val="30.06.2017 15:02:37"/>
  <p:tag name="MIO_DBID" val="ED9FF2F2-6643-46BA-B685-7D49126FFAFF"/>
  <p:tag name="MIO_LASTDOWNLOADED" val="10.07.2017 14:27:11"/>
  <p:tag name="MIO_OBJECTNAME" val="Corporate, 16x9"/>
  <p:tag name="MIO_LASTEDITORNAME" val="Leon Kirchner_ext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EK" val="19201"/>
  <p:tag name="MIO_FALLBACK_LAYOUT" val="15"/>
  <p:tag name="MIO_SHOW_DATE" val="True"/>
  <p:tag name="MIO_SHOW_FOOTER" val="True"/>
  <p:tag name="MIO_SHOW_PAGENUMBER" val="True"/>
  <p:tag name="MIO_AVOID_BLANK_LAYOUT" val="False"/>
  <p:tag name="MIO_CD_LAYOUT_VALID_AREA" val="False"/>
  <p:tag name="MIO_NUMBER_OF_VALID_LAYOUTS" val="24"/>
  <p:tag name="MIO_HDS" val="True"/>
  <p:tag name="MIO_SKIPVERSION" val="01.01.0001 00:00:00"/>
  <p:tag name="MIO_EKGUID" val="e3e9ceb7-7c78-4334-8bc0-c31cd70564f0"/>
  <p:tag name="MIO_UPDATE" val="True"/>
  <p:tag name="MIO_VERSION" val="05.07.2021 09:16:06"/>
  <p:tag name="MIO_DBID" val="28AD0E67-88F4-4826-B6CB-8EA6DE4EF11B"/>
  <p:tag name="MIO_LASTDOWNLOADED" val="16.11.2021 15:37:22.820"/>
  <p:tag name="MIO_OBJECTNAME" val="Automotive 16x9"/>
  <p:tag name="MIO_CDID" val="d446ddb0-4ccd-4ae3-96db-87dda6130c4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heme/theme1.xml><?xml version="1.0" encoding="utf-8"?>
<a:theme xmlns:a="http://schemas.openxmlformats.org/drawingml/2006/main" name="Continental AG 2021, 16x9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600" b="0" i="0" u="none" baseline="0" dirty="0">
            <a:solidFill>
              <a:srgbClr val="181818"/>
            </a:solidFill>
            <a:latin typeface="Arial" panose="020B0604020202020204" pitchFamily="34" charset="0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2400" b="0" i="0" u="none" baseline="0" dirty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5" id="{F1D69CB5-4D45-45F0-B20B-8737AC8ED40A}" vid="{E573284F-A76D-4AC0-A0D0-CAEB22281542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9E3A996A872C04FAD41B6CEA7851DFF" ma:contentTypeVersion="13" ma:contentTypeDescription="Ein neues Dokument erstellen." ma:contentTypeScope="" ma:versionID="cff75b70f1e0f753df1b4e8d640d9936">
  <xsd:schema xmlns:xsd="http://www.w3.org/2001/XMLSchema" xmlns:xs="http://www.w3.org/2001/XMLSchema" xmlns:p="http://schemas.microsoft.com/office/2006/metadata/properties" xmlns:ns2="dcf49457-ce50-44af-a53a-8f28f334624a" xmlns:ns3="541d5e45-3fe3-4c82-837b-215025a1bd72" targetNamespace="http://schemas.microsoft.com/office/2006/metadata/properties" ma:root="true" ma:fieldsID="a8120825e19322eed8c42883ad86c2c5" ns2:_="" ns3:_="">
    <xsd:import namespace="dcf49457-ce50-44af-a53a-8f28f334624a"/>
    <xsd:import namespace="541d5e45-3fe3-4c82-837b-215025a1bd7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f49457-ce50-44af-a53a-8f28f334624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1d5e45-3fe3-4c82-837b-215025a1bd72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1001942-6F60-4F1C-B32F-C2D21D18B38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BA9B37C-E911-4B2F-AE67-266D5AA451AE}">
  <ds:schemaRefs>
    <ds:schemaRef ds:uri="http://schemas.microsoft.com/office/infopath/2007/PartnerControls"/>
    <ds:schemaRef ds:uri="dcf49457-ce50-44af-a53a-8f28f334624a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541d5e45-3fe3-4c82-837b-215025a1bd72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FED2396-7168-444D-A836-D89CF56D579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cf49457-ce50-44af-a53a-8f28f334624a"/>
    <ds:schemaRef ds:uri="541d5e45-3fe3-4c82-837b-215025a1bd7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6006a9c5-d130-408c-bc8e-3b5ecdb17aa0}" enabled="1" method="Standard" siteId="{8d4b558f-7b2e-40ba-ad1f-e04d79e6265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45</Words>
  <Application>Microsoft Office PowerPoint</Application>
  <PresentationFormat>Widescreen</PresentationFormat>
  <Paragraphs>90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微软雅黑</vt:lpstr>
      <vt:lpstr>Arial</vt:lpstr>
      <vt:lpstr>Continental AG 2021, 16x9</vt:lpstr>
      <vt:lpstr>Package</vt:lpstr>
      <vt:lpstr>Detail explanation for Function-EDB **对前述某项功能的具体解释 </vt:lpstr>
      <vt:lpstr>Function list-EDB **该软件的功能列表</vt:lpstr>
      <vt:lpstr>EDB monitoring softwar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eon Kirchner_ext</dc:creator>
  <cp:lastModifiedBy>Song, Zhenxing</cp:lastModifiedBy>
  <cp:revision>103</cp:revision>
  <dcterms:created xsi:type="dcterms:W3CDTF">2019-04-24T08:42:37Z</dcterms:created>
  <dcterms:modified xsi:type="dcterms:W3CDTF">2025-05-07T06:06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9E3A996A872C04FAD41B6CEA7851DFF</vt:lpwstr>
  </property>
  <property fmtid="{D5CDD505-2E9C-101B-9397-08002B2CF9AE}" pid="3" name="MSIP_Label_6006a9c5-d130-408c-bc8e-3b5ecdb17aa0_Enabled">
    <vt:lpwstr>true</vt:lpwstr>
  </property>
  <property fmtid="{D5CDD505-2E9C-101B-9397-08002B2CF9AE}" pid="4" name="MSIP_Label_6006a9c5-d130-408c-bc8e-3b5ecdb17aa0_SetDate">
    <vt:lpwstr>2022-01-19T14:25:14Z</vt:lpwstr>
  </property>
  <property fmtid="{D5CDD505-2E9C-101B-9397-08002B2CF9AE}" pid="5" name="MSIP_Label_6006a9c5-d130-408c-bc8e-3b5ecdb17aa0_Method">
    <vt:lpwstr>Standard</vt:lpwstr>
  </property>
  <property fmtid="{D5CDD505-2E9C-101B-9397-08002B2CF9AE}" pid="6" name="MSIP_Label_6006a9c5-d130-408c-bc8e-3b5ecdb17aa0_Name">
    <vt:lpwstr>Recipients Have Full Control​</vt:lpwstr>
  </property>
  <property fmtid="{D5CDD505-2E9C-101B-9397-08002B2CF9AE}" pid="7" name="MSIP_Label_6006a9c5-d130-408c-bc8e-3b5ecdb17aa0_SiteId">
    <vt:lpwstr>8d4b558f-7b2e-40ba-ad1f-e04d79e6265a</vt:lpwstr>
  </property>
  <property fmtid="{D5CDD505-2E9C-101B-9397-08002B2CF9AE}" pid="8" name="MSIP_Label_6006a9c5-d130-408c-bc8e-3b5ecdb17aa0_ActionId">
    <vt:lpwstr>70b035a6-a86c-4063-83cf-f36d21d6deec</vt:lpwstr>
  </property>
  <property fmtid="{D5CDD505-2E9C-101B-9397-08002B2CF9AE}" pid="9" name="MSIP_Label_6006a9c5-d130-408c-bc8e-3b5ecdb17aa0_ContentBits">
    <vt:lpwstr>2</vt:lpwstr>
  </property>
</Properties>
</file>